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6.xml" ContentType="application/vnd.openxmlformats-officedocument.presentationml.tags+xml"/>
  <Override PartName="/ppt/notesSlides/notesSlide20.xml" ContentType="application/vnd.openxmlformats-officedocument.presentationml.notesSlide+xml"/>
  <Override PartName="/ppt/tags/tag7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2"/>
  </p:notesMasterIdLst>
  <p:sldIdLst>
    <p:sldId id="256" r:id="rId5"/>
    <p:sldId id="325" r:id="rId6"/>
    <p:sldId id="324" r:id="rId7"/>
    <p:sldId id="323" r:id="rId8"/>
    <p:sldId id="296" r:id="rId9"/>
    <p:sldId id="354" r:id="rId10"/>
    <p:sldId id="589" r:id="rId11"/>
    <p:sldId id="396" r:id="rId12"/>
    <p:sldId id="395" r:id="rId13"/>
    <p:sldId id="591" r:id="rId14"/>
    <p:sldId id="590" r:id="rId15"/>
    <p:sldId id="337" r:id="rId16"/>
    <p:sldId id="310" r:id="rId17"/>
    <p:sldId id="342" r:id="rId18"/>
    <p:sldId id="311" r:id="rId19"/>
    <p:sldId id="312" r:id="rId20"/>
    <p:sldId id="317" r:id="rId21"/>
    <p:sldId id="318" r:id="rId22"/>
    <p:sldId id="320" r:id="rId23"/>
    <p:sldId id="329" r:id="rId24"/>
    <p:sldId id="321" r:id="rId25"/>
    <p:sldId id="592" r:id="rId26"/>
    <p:sldId id="326" r:id="rId27"/>
    <p:sldId id="332" r:id="rId28"/>
    <p:sldId id="597" r:id="rId29"/>
    <p:sldId id="593" r:id="rId30"/>
    <p:sldId id="599" r:id="rId31"/>
    <p:sldId id="594" r:id="rId32"/>
    <p:sldId id="595" r:id="rId33"/>
    <p:sldId id="596" r:id="rId34"/>
    <p:sldId id="335" r:id="rId35"/>
    <p:sldId id="338" r:id="rId36"/>
    <p:sldId id="331" r:id="rId37"/>
    <p:sldId id="340" r:id="rId38"/>
    <p:sldId id="333" r:id="rId39"/>
    <p:sldId id="358" r:id="rId40"/>
    <p:sldId id="346" r:id="rId41"/>
    <p:sldId id="348" r:id="rId42"/>
    <p:sldId id="349" r:id="rId43"/>
    <p:sldId id="350" r:id="rId44"/>
    <p:sldId id="352" r:id="rId45"/>
    <p:sldId id="356" r:id="rId46"/>
    <p:sldId id="357" r:id="rId47"/>
    <p:sldId id="588" r:id="rId48"/>
    <p:sldId id="600" r:id="rId49"/>
    <p:sldId id="601" r:id="rId50"/>
    <p:sldId id="602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EC0"/>
    <a:srgbClr val="F6AC72"/>
    <a:srgbClr val="5B9ACD"/>
    <a:srgbClr val="2F7FC0"/>
    <a:srgbClr val="E42E4E"/>
    <a:srgbClr val="48C0C2"/>
    <a:srgbClr val="9CA2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01" autoAdjust="0"/>
    <p:restoredTop sz="92308" autoAdjust="0"/>
  </p:normalViewPr>
  <p:slideViewPr>
    <p:cSldViewPr snapToGrid="0">
      <p:cViewPr varScale="1">
        <p:scale>
          <a:sx n="73" d="100"/>
          <a:sy n="73" d="100"/>
        </p:scale>
        <p:origin x="90" y="6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microsoft.com/office/2016/11/relationships/changesInfo" Target="changesInfos/changesInfo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usuf Satilmis" userId="a3e4faa8-c8db-46ed-9760-fe878fd9015c" providerId="ADAL" clId="{C51C7B28-C34B-4D85-A236-31229A5BCAC8}"/>
    <pc:docChg chg="modSld">
      <pc:chgData name="Yusuf Satilmis" userId="a3e4faa8-c8db-46ed-9760-fe878fd9015c" providerId="ADAL" clId="{C51C7B28-C34B-4D85-A236-31229A5BCAC8}" dt="2023-09-12T11:33:44.739" v="0"/>
      <pc:docMkLst>
        <pc:docMk/>
      </pc:docMkLst>
      <pc:sldChg chg="modSp mod">
        <pc:chgData name="Yusuf Satilmis" userId="a3e4faa8-c8db-46ed-9760-fe878fd9015c" providerId="ADAL" clId="{C51C7B28-C34B-4D85-A236-31229A5BCAC8}" dt="2023-09-12T11:33:44.739" v="0"/>
        <pc:sldMkLst>
          <pc:docMk/>
          <pc:sldMk cId="3270928644" sldId="256"/>
        </pc:sldMkLst>
        <pc:spChg chg="mod">
          <ac:chgData name="Yusuf Satilmis" userId="a3e4faa8-c8db-46ed-9760-fe878fd9015c" providerId="ADAL" clId="{C51C7B28-C34B-4D85-A236-31229A5BCAC8}" dt="2023-09-12T11:33:44.739" v="0"/>
          <ac:spMkLst>
            <pc:docMk/>
            <pc:sldMk cId="3270928644" sldId="256"/>
            <ac:spMk id="4" creationId="{7B4C1D8E-8767-44D0-909C-BFB5246C3FA7}"/>
          </ac:spMkLst>
        </pc:spChg>
      </pc:sldChg>
    </pc:docChg>
  </pc:docChgLst>
  <pc:docChgLst>
    <pc:chgData name="Yusuf Satilmis" userId="a3e4faa8-c8db-46ed-9760-fe878fd9015c" providerId="ADAL" clId="{570BCCC6-044E-41F3-BF09-F57F042E6903}"/>
    <pc:docChg chg="undo custSel addSld delSld modSld">
      <pc:chgData name="Yusuf Satilmis" userId="a3e4faa8-c8db-46ed-9760-fe878fd9015c" providerId="ADAL" clId="{570BCCC6-044E-41F3-BF09-F57F042E6903}" dt="2023-04-19T10:35:29.784" v="668" actId="20577"/>
      <pc:docMkLst>
        <pc:docMk/>
      </pc:docMkLst>
      <pc:sldChg chg="modSp mod">
        <pc:chgData name="Yusuf Satilmis" userId="a3e4faa8-c8db-46ed-9760-fe878fd9015c" providerId="ADAL" clId="{570BCCC6-044E-41F3-BF09-F57F042E6903}" dt="2023-04-19T10:17:30.207" v="133" actId="20577"/>
        <pc:sldMkLst>
          <pc:docMk/>
          <pc:sldMk cId="3902120973" sldId="296"/>
        </pc:sldMkLst>
        <pc:spChg chg="mod">
          <ac:chgData name="Yusuf Satilmis" userId="a3e4faa8-c8db-46ed-9760-fe878fd9015c" providerId="ADAL" clId="{570BCCC6-044E-41F3-BF09-F57F042E6903}" dt="2023-04-19T10:11:58.179" v="10" actId="20577"/>
          <ac:spMkLst>
            <pc:docMk/>
            <pc:sldMk cId="3902120973" sldId="296"/>
            <ac:spMk id="4" creationId="{B3A585D8-7632-4D65-A198-FA1F0CC9067F}"/>
          </ac:spMkLst>
        </pc:spChg>
        <pc:spChg chg="mod">
          <ac:chgData name="Yusuf Satilmis" userId="a3e4faa8-c8db-46ed-9760-fe878fd9015c" providerId="ADAL" clId="{570BCCC6-044E-41F3-BF09-F57F042E6903}" dt="2023-04-19T10:17:30.207" v="133" actId="20577"/>
          <ac:spMkLst>
            <pc:docMk/>
            <pc:sldMk cId="3902120973" sldId="296"/>
            <ac:spMk id="5" creationId="{7764009C-C728-4272-B6C3-7BEB6621A332}"/>
          </ac:spMkLst>
        </pc:spChg>
      </pc:sldChg>
      <pc:sldChg chg="add">
        <pc:chgData name="Yusuf Satilmis" userId="a3e4faa8-c8db-46ed-9760-fe878fd9015c" providerId="ADAL" clId="{570BCCC6-044E-41F3-BF09-F57F042E6903}" dt="2023-04-19T10:11:45.270" v="0"/>
        <pc:sldMkLst>
          <pc:docMk/>
          <pc:sldMk cId="4003207189" sldId="323"/>
        </pc:sldMkLst>
      </pc:sldChg>
      <pc:sldChg chg="add">
        <pc:chgData name="Yusuf Satilmis" userId="a3e4faa8-c8db-46ed-9760-fe878fd9015c" providerId="ADAL" clId="{570BCCC6-044E-41F3-BF09-F57F042E6903}" dt="2023-04-19T10:11:45.270" v="0"/>
        <pc:sldMkLst>
          <pc:docMk/>
          <pc:sldMk cId="1366797619" sldId="324"/>
        </pc:sldMkLst>
      </pc:sldChg>
      <pc:sldChg chg="add">
        <pc:chgData name="Yusuf Satilmis" userId="a3e4faa8-c8db-46ed-9760-fe878fd9015c" providerId="ADAL" clId="{570BCCC6-044E-41F3-BF09-F57F042E6903}" dt="2023-04-19T10:11:45.270" v="0"/>
        <pc:sldMkLst>
          <pc:docMk/>
          <pc:sldMk cId="3968287193" sldId="325"/>
        </pc:sldMkLst>
      </pc:sldChg>
      <pc:sldChg chg="modSp mod">
        <pc:chgData name="Yusuf Satilmis" userId="a3e4faa8-c8db-46ed-9760-fe878fd9015c" providerId="ADAL" clId="{570BCCC6-044E-41F3-BF09-F57F042E6903}" dt="2023-04-19T10:17:53.530" v="142" actId="20577"/>
        <pc:sldMkLst>
          <pc:docMk/>
          <pc:sldMk cId="2259953443" sldId="358"/>
        </pc:sldMkLst>
        <pc:spChg chg="mod">
          <ac:chgData name="Yusuf Satilmis" userId="a3e4faa8-c8db-46ed-9760-fe878fd9015c" providerId="ADAL" clId="{570BCCC6-044E-41F3-BF09-F57F042E6903}" dt="2023-04-19T10:17:53.530" v="142" actId="20577"/>
          <ac:spMkLst>
            <pc:docMk/>
            <pc:sldMk cId="2259953443" sldId="358"/>
            <ac:spMk id="4" creationId="{BDB6620D-D30D-85DC-E2BC-4B1FF08B5473}"/>
          </ac:spMkLst>
        </pc:spChg>
      </pc:sldChg>
      <pc:sldChg chg="addSp modSp">
        <pc:chgData name="Yusuf Satilmis" userId="a3e4faa8-c8db-46ed-9760-fe878fd9015c" providerId="ADAL" clId="{570BCCC6-044E-41F3-BF09-F57F042E6903}" dt="2023-04-19T10:20:43.412" v="146"/>
        <pc:sldMkLst>
          <pc:docMk/>
          <pc:sldMk cId="2008274014" sldId="388"/>
        </pc:sldMkLst>
        <pc:spChg chg="add mod">
          <ac:chgData name="Yusuf Satilmis" userId="a3e4faa8-c8db-46ed-9760-fe878fd9015c" providerId="ADAL" clId="{570BCCC6-044E-41F3-BF09-F57F042E6903}" dt="2023-04-19T10:20:43.412" v="146"/>
          <ac:spMkLst>
            <pc:docMk/>
            <pc:sldMk cId="2008274014" sldId="388"/>
            <ac:spMk id="4" creationId="{B0ADBAAC-D243-4AB9-F490-BC43F6493D97}"/>
          </ac:spMkLst>
        </pc:spChg>
      </pc:sldChg>
      <pc:sldChg chg="addSp modSp">
        <pc:chgData name="Yusuf Satilmis" userId="a3e4faa8-c8db-46ed-9760-fe878fd9015c" providerId="ADAL" clId="{570BCCC6-044E-41F3-BF09-F57F042E6903}" dt="2023-04-19T10:20:42.392" v="145"/>
        <pc:sldMkLst>
          <pc:docMk/>
          <pc:sldMk cId="1995236632" sldId="389"/>
        </pc:sldMkLst>
        <pc:spChg chg="add mod">
          <ac:chgData name="Yusuf Satilmis" userId="a3e4faa8-c8db-46ed-9760-fe878fd9015c" providerId="ADAL" clId="{570BCCC6-044E-41F3-BF09-F57F042E6903}" dt="2023-04-19T10:20:42.392" v="145"/>
          <ac:spMkLst>
            <pc:docMk/>
            <pc:sldMk cId="1995236632" sldId="389"/>
            <ac:spMk id="3" creationId="{50FCB863-17BC-AA84-2DBA-75359B930A49}"/>
          </ac:spMkLst>
        </pc:spChg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2475127812" sldId="390"/>
        </pc:sldMkLst>
      </pc:sldChg>
      <pc:sldChg chg="addSp modSp">
        <pc:chgData name="Yusuf Satilmis" userId="a3e4faa8-c8db-46ed-9760-fe878fd9015c" providerId="ADAL" clId="{570BCCC6-044E-41F3-BF09-F57F042E6903}" dt="2023-04-19T10:20:40.967" v="144"/>
        <pc:sldMkLst>
          <pc:docMk/>
          <pc:sldMk cId="1205995160" sldId="391"/>
        </pc:sldMkLst>
        <pc:spChg chg="add mod">
          <ac:chgData name="Yusuf Satilmis" userId="a3e4faa8-c8db-46ed-9760-fe878fd9015c" providerId="ADAL" clId="{570BCCC6-044E-41F3-BF09-F57F042E6903}" dt="2023-04-19T10:20:40.967" v="144"/>
          <ac:spMkLst>
            <pc:docMk/>
            <pc:sldMk cId="1205995160" sldId="391"/>
            <ac:spMk id="3" creationId="{916963CF-AB3A-251B-4F9A-08508EA7AD1C}"/>
          </ac:spMkLst>
        </pc:spChg>
      </pc:sldChg>
      <pc:sldChg chg="addSp modSp new mod">
        <pc:chgData name="Yusuf Satilmis" userId="a3e4faa8-c8db-46ed-9760-fe878fd9015c" providerId="ADAL" clId="{570BCCC6-044E-41F3-BF09-F57F042E6903}" dt="2023-04-19T10:29:27.098" v="533" actId="313"/>
        <pc:sldMkLst>
          <pc:docMk/>
          <pc:sldMk cId="1598411717" sldId="392"/>
        </pc:sldMkLst>
        <pc:spChg chg="mod">
          <ac:chgData name="Yusuf Satilmis" userId="a3e4faa8-c8db-46ed-9760-fe878fd9015c" providerId="ADAL" clId="{570BCCC6-044E-41F3-BF09-F57F042E6903}" dt="2023-04-19T10:20:54.983" v="158" actId="20577"/>
          <ac:spMkLst>
            <pc:docMk/>
            <pc:sldMk cId="1598411717" sldId="392"/>
            <ac:spMk id="2" creationId="{2AF10C8E-8505-7852-6597-3594E0185F9A}"/>
          </ac:spMkLst>
        </pc:spChg>
        <pc:spChg chg="add mod">
          <ac:chgData name="Yusuf Satilmis" userId="a3e4faa8-c8db-46ed-9760-fe878fd9015c" providerId="ADAL" clId="{570BCCC6-044E-41F3-BF09-F57F042E6903}" dt="2023-04-19T10:20:50.028" v="147"/>
          <ac:spMkLst>
            <pc:docMk/>
            <pc:sldMk cId="1598411717" sldId="392"/>
            <ac:spMk id="3" creationId="{AB1CFEC6-4FFA-36F7-79E4-531B80303E4C}"/>
          </ac:spMkLst>
        </pc:spChg>
        <pc:spChg chg="add mod">
          <ac:chgData name="Yusuf Satilmis" userId="a3e4faa8-c8db-46ed-9760-fe878fd9015c" providerId="ADAL" clId="{570BCCC6-044E-41F3-BF09-F57F042E6903}" dt="2023-04-19T10:29:27.098" v="533" actId="313"/>
          <ac:spMkLst>
            <pc:docMk/>
            <pc:sldMk cId="1598411717" sldId="392"/>
            <ac:spMk id="4" creationId="{1F2F5E92-1C42-FD19-85E7-E465CA971FD6}"/>
          </ac:spMkLst>
        </pc:spChg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1662736011" sldId="392"/>
        </pc:sldMkLst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2262627483" sldId="393"/>
        </pc:sldMkLst>
      </pc:sldChg>
      <pc:sldChg chg="addSp modSp new mod">
        <pc:chgData name="Yusuf Satilmis" userId="a3e4faa8-c8db-46ed-9760-fe878fd9015c" providerId="ADAL" clId="{570BCCC6-044E-41F3-BF09-F57F042E6903}" dt="2023-04-19T10:35:29.784" v="668" actId="20577"/>
        <pc:sldMkLst>
          <pc:docMk/>
          <pc:sldMk cId="3766508839" sldId="393"/>
        </pc:sldMkLst>
        <pc:spChg chg="mod">
          <ac:chgData name="Yusuf Satilmis" userId="a3e4faa8-c8db-46ed-9760-fe878fd9015c" providerId="ADAL" clId="{570BCCC6-044E-41F3-BF09-F57F042E6903}" dt="2023-04-19T10:34:40.492" v="549" actId="20577"/>
          <ac:spMkLst>
            <pc:docMk/>
            <pc:sldMk cId="3766508839" sldId="393"/>
            <ac:spMk id="2" creationId="{E4A98868-3557-5C95-CA04-BF3F289A8414}"/>
          </ac:spMkLst>
        </pc:spChg>
        <pc:spChg chg="add mod">
          <ac:chgData name="Yusuf Satilmis" userId="a3e4faa8-c8db-46ed-9760-fe878fd9015c" providerId="ADAL" clId="{570BCCC6-044E-41F3-BF09-F57F042E6903}" dt="2023-04-19T10:35:29.784" v="668" actId="20577"/>
          <ac:spMkLst>
            <pc:docMk/>
            <pc:sldMk cId="3766508839" sldId="393"/>
            <ac:spMk id="3" creationId="{65E39790-634F-328D-C5A4-EB4393B662EB}"/>
          </ac:spMkLst>
        </pc:spChg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216531739" sldId="394"/>
        </pc:sldMkLst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1330035325" sldId="395"/>
        </pc:sldMkLst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2976863673" sldId="396"/>
        </pc:sldMkLst>
      </pc:sldChg>
      <pc:sldChg chg="addSp modSp del mod">
        <pc:chgData name="Yusuf Satilmis" userId="a3e4faa8-c8db-46ed-9760-fe878fd9015c" providerId="ADAL" clId="{570BCCC6-044E-41F3-BF09-F57F042E6903}" dt="2023-04-19T10:15:57.253" v="116" actId="2696"/>
        <pc:sldMkLst>
          <pc:docMk/>
          <pc:sldMk cId="880025525" sldId="397"/>
        </pc:sldMkLst>
        <pc:spChg chg="mod">
          <ac:chgData name="Yusuf Satilmis" userId="a3e4faa8-c8db-46ed-9760-fe878fd9015c" providerId="ADAL" clId="{570BCCC6-044E-41F3-BF09-F57F042E6903}" dt="2023-04-19T10:14:14.848" v="82" actId="20577"/>
          <ac:spMkLst>
            <pc:docMk/>
            <pc:sldMk cId="880025525" sldId="397"/>
            <ac:spMk id="2" creationId="{FC7A5184-AD97-7075-191B-8A67DEA291AC}"/>
          </ac:spMkLst>
        </pc:spChg>
        <pc:spChg chg="add mod">
          <ac:chgData name="Yusuf Satilmis" userId="a3e4faa8-c8db-46ed-9760-fe878fd9015c" providerId="ADAL" clId="{570BCCC6-044E-41F3-BF09-F57F042E6903}" dt="2023-04-19T10:14:24.233" v="85" actId="14100"/>
          <ac:spMkLst>
            <pc:docMk/>
            <pc:sldMk cId="880025525" sldId="397"/>
            <ac:spMk id="3" creationId="{8B1CA4FF-928D-4AC7-318F-7B2AB39DAFF6}"/>
          </ac:spMkLst>
        </pc:spChg>
      </pc:sldChg>
      <pc:sldChg chg="addSp modSp del mod">
        <pc:chgData name="Yusuf Satilmis" userId="a3e4faa8-c8db-46ed-9760-fe878fd9015c" providerId="ADAL" clId="{570BCCC6-044E-41F3-BF09-F57F042E6903}" dt="2023-04-19T10:15:57.253" v="116" actId="2696"/>
        <pc:sldMkLst>
          <pc:docMk/>
          <pc:sldMk cId="131500604" sldId="398"/>
        </pc:sldMkLst>
        <pc:spChg chg="mod">
          <ac:chgData name="Yusuf Satilmis" userId="a3e4faa8-c8db-46ed-9760-fe878fd9015c" providerId="ADAL" clId="{570BCCC6-044E-41F3-BF09-F57F042E6903}" dt="2023-04-19T10:15:18.514" v="115" actId="20577"/>
          <ac:spMkLst>
            <pc:docMk/>
            <pc:sldMk cId="131500604" sldId="398"/>
            <ac:spMk id="2" creationId="{F8095E4E-FF9A-6E58-B00A-EDAF4F634D32}"/>
          </ac:spMkLst>
        </pc:spChg>
        <pc:spChg chg="add mod">
          <ac:chgData name="Yusuf Satilmis" userId="a3e4faa8-c8db-46ed-9760-fe878fd9015c" providerId="ADAL" clId="{570BCCC6-044E-41F3-BF09-F57F042E6903}" dt="2023-04-19T10:14:45.465" v="88" actId="14100"/>
          <ac:spMkLst>
            <pc:docMk/>
            <pc:sldMk cId="131500604" sldId="398"/>
            <ac:spMk id="3" creationId="{23F9FCB0-2E63-E909-FF75-F1418A11B5A7}"/>
          </ac:spMkLst>
        </pc:spChg>
      </pc:sldChg>
      <pc:sldChg chg="addSp modSp del mod">
        <pc:chgData name="Yusuf Satilmis" userId="a3e4faa8-c8db-46ed-9760-fe878fd9015c" providerId="ADAL" clId="{570BCCC6-044E-41F3-BF09-F57F042E6903}" dt="2023-04-19T10:15:57.253" v="116" actId="2696"/>
        <pc:sldMkLst>
          <pc:docMk/>
          <pc:sldMk cId="440499992" sldId="399"/>
        </pc:sldMkLst>
        <pc:spChg chg="mod">
          <ac:chgData name="Yusuf Satilmis" userId="a3e4faa8-c8db-46ed-9760-fe878fd9015c" providerId="ADAL" clId="{570BCCC6-044E-41F3-BF09-F57F042E6903}" dt="2023-04-19T10:15:14.097" v="112" actId="20577"/>
          <ac:spMkLst>
            <pc:docMk/>
            <pc:sldMk cId="440499992" sldId="399"/>
            <ac:spMk id="2" creationId="{E36D0CF4-9865-1C27-D04B-CE6C0BE34534}"/>
          </ac:spMkLst>
        </pc:spChg>
        <pc:spChg chg="add mod">
          <ac:chgData name="Yusuf Satilmis" userId="a3e4faa8-c8db-46ed-9760-fe878fd9015c" providerId="ADAL" clId="{570BCCC6-044E-41F3-BF09-F57F042E6903}" dt="2023-04-19T10:14:57.613" v="90"/>
          <ac:spMkLst>
            <pc:docMk/>
            <pc:sldMk cId="440499992" sldId="399"/>
            <ac:spMk id="3" creationId="{52A90F65-4536-BE73-7EA4-D40A4F3E2968}"/>
          </ac:spMkLst>
        </pc:spChg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4232920607" sldId="400"/>
        </pc:sldMkLst>
      </pc:sldChg>
      <pc:sldChg chg="new del">
        <pc:chgData name="Yusuf Satilmis" userId="a3e4faa8-c8db-46ed-9760-fe878fd9015c" providerId="ADAL" clId="{570BCCC6-044E-41F3-BF09-F57F042E6903}" dt="2023-04-19T10:15:57.253" v="116" actId="2696"/>
        <pc:sldMkLst>
          <pc:docMk/>
          <pc:sldMk cId="568030924" sldId="401"/>
        </pc:sldMkLst>
      </pc:sldChg>
    </pc:docChg>
  </pc:docChgLst>
  <pc:docChgLst>
    <pc:chgData name="Jessica Benkaroun" userId="1c3ff5c9-3eca-455c-8377-661434481778" providerId="ADAL" clId="{0ED6F87D-4C40-48B1-A45A-2B1409D55899}"/>
    <pc:docChg chg="delSld modSld">
      <pc:chgData name="Jessica Benkaroun" userId="1c3ff5c9-3eca-455c-8377-661434481778" providerId="ADAL" clId="{0ED6F87D-4C40-48B1-A45A-2B1409D55899}" dt="2023-11-01T15:45:28.549" v="70"/>
      <pc:docMkLst>
        <pc:docMk/>
      </pc:docMkLst>
      <pc:sldChg chg="addSp modSp mod modAnim">
        <pc:chgData name="Jessica Benkaroun" userId="1c3ff5c9-3eca-455c-8377-661434481778" providerId="ADAL" clId="{0ED6F87D-4C40-48B1-A45A-2B1409D55899}" dt="2023-11-01T15:43:17.228" v="64" actId="20577"/>
        <pc:sldMkLst>
          <pc:docMk/>
          <pc:sldMk cId="799080178" sldId="354"/>
        </pc:sldMkLst>
        <pc:spChg chg="mod">
          <ac:chgData name="Jessica Benkaroun" userId="1c3ff5c9-3eca-455c-8377-661434481778" providerId="ADAL" clId="{0ED6F87D-4C40-48B1-A45A-2B1409D55899}" dt="2023-11-01T15:43:17.228" v="64" actId="20577"/>
          <ac:spMkLst>
            <pc:docMk/>
            <pc:sldMk cId="799080178" sldId="354"/>
            <ac:spMk id="5" creationId="{6C17FF82-3C6B-FF63-7B7C-8A4519711977}"/>
          </ac:spMkLst>
        </pc:spChg>
        <pc:picChg chg="add mod">
          <ac:chgData name="Jessica Benkaroun" userId="1c3ff5c9-3eca-455c-8377-661434481778" providerId="ADAL" clId="{0ED6F87D-4C40-48B1-A45A-2B1409D55899}" dt="2023-11-01T15:41:05.562" v="5" actId="1076"/>
          <ac:picMkLst>
            <pc:docMk/>
            <pc:sldMk cId="799080178" sldId="354"/>
            <ac:picMk id="6" creationId="{CE42A834-5976-79BB-7391-80337D26AA3F}"/>
          </ac:picMkLst>
        </pc:picChg>
      </pc:sldChg>
      <pc:sldChg chg="del">
        <pc:chgData name="Jessica Benkaroun" userId="1c3ff5c9-3eca-455c-8377-661434481778" providerId="ADAL" clId="{0ED6F87D-4C40-48B1-A45A-2B1409D55899}" dt="2023-11-01T15:34:00.124" v="0" actId="47"/>
        <pc:sldMkLst>
          <pc:docMk/>
          <pc:sldMk cId="4221281157" sldId="393"/>
        </pc:sldMkLst>
      </pc:sldChg>
      <pc:sldChg chg="modSp mod">
        <pc:chgData name="Jessica Benkaroun" userId="1c3ff5c9-3eca-455c-8377-661434481778" providerId="ADAL" clId="{0ED6F87D-4C40-48B1-A45A-2B1409D55899}" dt="2023-11-01T15:44:58.978" v="67" actId="1076"/>
        <pc:sldMkLst>
          <pc:docMk/>
          <pc:sldMk cId="3773760650" sldId="397"/>
        </pc:sldMkLst>
        <pc:spChg chg="mod">
          <ac:chgData name="Jessica Benkaroun" userId="1c3ff5c9-3eca-455c-8377-661434481778" providerId="ADAL" clId="{0ED6F87D-4C40-48B1-A45A-2B1409D55899}" dt="2023-11-01T15:44:55.724" v="66" actId="20577"/>
          <ac:spMkLst>
            <pc:docMk/>
            <pc:sldMk cId="3773760650" sldId="397"/>
            <ac:spMk id="4" creationId="{520CB8EF-1F7B-8A65-0E7B-4B61346BDD44}"/>
          </ac:spMkLst>
        </pc:spChg>
        <pc:spChg chg="mod">
          <ac:chgData name="Jessica Benkaroun" userId="1c3ff5c9-3eca-455c-8377-661434481778" providerId="ADAL" clId="{0ED6F87D-4C40-48B1-A45A-2B1409D55899}" dt="2023-11-01T15:44:58.978" v="67" actId="1076"/>
          <ac:spMkLst>
            <pc:docMk/>
            <pc:sldMk cId="3773760650" sldId="397"/>
            <ac:spMk id="6" creationId="{C3D1E72E-DCBA-35FA-4C89-9734BF65F9A9}"/>
          </ac:spMkLst>
        </pc:spChg>
      </pc:sldChg>
      <pc:sldChg chg="modAnim">
        <pc:chgData name="Jessica Benkaroun" userId="1c3ff5c9-3eca-455c-8377-661434481778" providerId="ADAL" clId="{0ED6F87D-4C40-48B1-A45A-2B1409D55899}" dt="2023-11-01T15:45:28.549" v="70"/>
        <pc:sldMkLst>
          <pc:docMk/>
          <pc:sldMk cId="831066449" sldId="398"/>
        </pc:sldMkLst>
      </pc:sldChg>
    </pc:docChg>
  </pc:docChgLst>
  <pc:docChgLst>
    <pc:chgData name="Yusuf Satilmis" userId="a3e4faa8-c8db-46ed-9760-fe878fd9015c" providerId="ADAL" clId="{366D7E34-BB26-4FA7-92AD-929706A8538F}"/>
    <pc:docChg chg="undo redo custSel addSld delSld modSld sldOrd">
      <pc:chgData name="Yusuf Satilmis" userId="a3e4faa8-c8db-46ed-9760-fe878fd9015c" providerId="ADAL" clId="{366D7E34-BB26-4FA7-92AD-929706A8538F}" dt="2023-05-02T09:43:21.414" v="1300" actId="20577"/>
      <pc:docMkLst>
        <pc:docMk/>
      </pc:docMkLst>
      <pc:sldChg chg="modSp add del mod">
        <pc:chgData name="Yusuf Satilmis" userId="a3e4faa8-c8db-46ed-9760-fe878fd9015c" providerId="ADAL" clId="{366D7E34-BB26-4FA7-92AD-929706A8538F}" dt="2023-04-20T14:06:07.463" v="50" actId="20577"/>
        <pc:sldMkLst>
          <pc:docMk/>
          <pc:sldMk cId="3270928644" sldId="256"/>
        </pc:sldMkLst>
        <pc:spChg chg="mod">
          <ac:chgData name="Yusuf Satilmis" userId="a3e4faa8-c8db-46ed-9760-fe878fd9015c" providerId="ADAL" clId="{366D7E34-BB26-4FA7-92AD-929706A8538F}" dt="2023-04-20T14:06:07.463" v="50" actId="20577"/>
          <ac:spMkLst>
            <pc:docMk/>
            <pc:sldMk cId="3270928644" sldId="256"/>
            <ac:spMk id="4" creationId="{7B4C1D8E-8767-44D0-909C-BFB5246C3FA7}"/>
          </ac:spMkLst>
        </pc:spChg>
      </pc:sldChg>
      <pc:sldChg chg="modSp add del mod ord">
        <pc:chgData name="Yusuf Satilmis" userId="a3e4faa8-c8db-46ed-9760-fe878fd9015c" providerId="ADAL" clId="{366D7E34-BB26-4FA7-92AD-929706A8538F}" dt="2023-04-21T10:09:28.964" v="1148"/>
        <pc:sldMkLst>
          <pc:docMk/>
          <pc:sldMk cId="3902120973" sldId="296"/>
        </pc:sldMkLst>
        <pc:spChg chg="mod">
          <ac:chgData name="Yusuf Satilmis" userId="a3e4faa8-c8db-46ed-9760-fe878fd9015c" providerId="ADAL" clId="{366D7E34-BB26-4FA7-92AD-929706A8538F}" dt="2023-04-21T10:03:22.824" v="1078" actId="20577"/>
          <ac:spMkLst>
            <pc:docMk/>
            <pc:sldMk cId="3902120973" sldId="296"/>
            <ac:spMk id="5" creationId="{7764009C-C728-4272-B6C3-7BEB6621A332}"/>
          </ac:spMkLst>
        </pc:spChg>
      </pc:sldChg>
      <pc:sldChg chg="add del">
        <pc:chgData name="Yusuf Satilmis" userId="a3e4faa8-c8db-46ed-9760-fe878fd9015c" providerId="ADAL" clId="{366D7E34-BB26-4FA7-92AD-929706A8538F}" dt="2023-04-20T14:05:53.204" v="40" actId="47"/>
        <pc:sldMkLst>
          <pc:docMk/>
          <pc:sldMk cId="4003207189" sldId="323"/>
        </pc:sldMkLst>
      </pc:sldChg>
      <pc:sldChg chg="add del">
        <pc:chgData name="Yusuf Satilmis" userId="a3e4faa8-c8db-46ed-9760-fe878fd9015c" providerId="ADAL" clId="{366D7E34-BB26-4FA7-92AD-929706A8538F}" dt="2023-04-20T14:05:52.789" v="39" actId="47"/>
        <pc:sldMkLst>
          <pc:docMk/>
          <pc:sldMk cId="1366797619" sldId="324"/>
        </pc:sldMkLst>
      </pc:sldChg>
      <pc:sldChg chg="add del">
        <pc:chgData name="Yusuf Satilmis" userId="a3e4faa8-c8db-46ed-9760-fe878fd9015c" providerId="ADAL" clId="{366D7E34-BB26-4FA7-92AD-929706A8538F}" dt="2023-04-20T14:05:52.389" v="38" actId="47"/>
        <pc:sldMkLst>
          <pc:docMk/>
          <pc:sldMk cId="3968287193" sldId="325"/>
        </pc:sldMkLst>
      </pc:sldChg>
      <pc:sldChg chg="del">
        <pc:chgData name="Yusuf Satilmis" userId="a3e4faa8-c8db-46ed-9760-fe878fd9015c" providerId="ADAL" clId="{366D7E34-BB26-4FA7-92AD-929706A8538F}" dt="2023-04-20T14:05:49.527" v="19" actId="47"/>
        <pc:sldMkLst>
          <pc:docMk/>
          <pc:sldMk cId="686131445" sldId="345"/>
        </pc:sldMkLst>
      </pc:sldChg>
      <pc:sldChg chg="del">
        <pc:chgData name="Yusuf Satilmis" userId="a3e4faa8-c8db-46ed-9760-fe878fd9015c" providerId="ADAL" clId="{366D7E34-BB26-4FA7-92AD-929706A8538F}" dt="2023-04-20T14:05:49.496" v="18" actId="47"/>
        <pc:sldMkLst>
          <pc:docMk/>
          <pc:sldMk cId="1741015802" sldId="346"/>
        </pc:sldMkLst>
      </pc:sldChg>
      <pc:sldChg chg="del">
        <pc:chgData name="Yusuf Satilmis" userId="a3e4faa8-c8db-46ed-9760-fe878fd9015c" providerId="ADAL" clId="{366D7E34-BB26-4FA7-92AD-929706A8538F}" dt="2023-04-20T14:05:49.462" v="17" actId="47"/>
        <pc:sldMkLst>
          <pc:docMk/>
          <pc:sldMk cId="3795066687" sldId="347"/>
        </pc:sldMkLst>
      </pc:sldChg>
      <pc:sldChg chg="del">
        <pc:chgData name="Yusuf Satilmis" userId="a3e4faa8-c8db-46ed-9760-fe878fd9015c" providerId="ADAL" clId="{366D7E34-BB26-4FA7-92AD-929706A8538F}" dt="2023-04-20T14:05:48.971" v="5" actId="47"/>
        <pc:sldMkLst>
          <pc:docMk/>
          <pc:sldMk cId="3451574082" sldId="348"/>
        </pc:sldMkLst>
      </pc:sldChg>
      <pc:sldChg chg="del">
        <pc:chgData name="Yusuf Satilmis" userId="a3e4faa8-c8db-46ed-9760-fe878fd9015c" providerId="ADAL" clId="{366D7E34-BB26-4FA7-92AD-929706A8538F}" dt="2023-04-20T14:05:48.947" v="4" actId="47"/>
        <pc:sldMkLst>
          <pc:docMk/>
          <pc:sldMk cId="595851929" sldId="349"/>
        </pc:sldMkLst>
      </pc:sldChg>
      <pc:sldChg chg="del">
        <pc:chgData name="Yusuf Satilmis" userId="a3e4faa8-c8db-46ed-9760-fe878fd9015c" providerId="ADAL" clId="{366D7E34-BB26-4FA7-92AD-929706A8538F}" dt="2023-04-20T14:05:48.890" v="3" actId="47"/>
        <pc:sldMkLst>
          <pc:docMk/>
          <pc:sldMk cId="100583515" sldId="350"/>
        </pc:sldMkLst>
      </pc:sldChg>
      <pc:sldChg chg="del">
        <pc:chgData name="Yusuf Satilmis" userId="a3e4faa8-c8db-46ed-9760-fe878fd9015c" providerId="ADAL" clId="{366D7E34-BB26-4FA7-92AD-929706A8538F}" dt="2023-04-20T14:05:48.865" v="2" actId="47"/>
        <pc:sldMkLst>
          <pc:docMk/>
          <pc:sldMk cId="2629492604" sldId="351"/>
        </pc:sldMkLst>
      </pc:sldChg>
      <pc:sldChg chg="del">
        <pc:chgData name="Yusuf Satilmis" userId="a3e4faa8-c8db-46ed-9760-fe878fd9015c" providerId="ADAL" clId="{366D7E34-BB26-4FA7-92AD-929706A8538F}" dt="2023-04-20T14:05:48.825" v="1" actId="47"/>
        <pc:sldMkLst>
          <pc:docMk/>
          <pc:sldMk cId="1821371042" sldId="352"/>
        </pc:sldMkLst>
      </pc:sldChg>
      <pc:sldChg chg="del">
        <pc:chgData name="Yusuf Satilmis" userId="a3e4faa8-c8db-46ed-9760-fe878fd9015c" providerId="ADAL" clId="{366D7E34-BB26-4FA7-92AD-929706A8538F}" dt="2023-04-20T14:05:48.392" v="0" actId="47"/>
        <pc:sldMkLst>
          <pc:docMk/>
          <pc:sldMk cId="1559354195" sldId="353"/>
        </pc:sldMkLst>
      </pc:sldChg>
      <pc:sldChg chg="delSp modSp add del mod">
        <pc:chgData name="Yusuf Satilmis" userId="a3e4faa8-c8db-46ed-9760-fe878fd9015c" providerId="ADAL" clId="{366D7E34-BB26-4FA7-92AD-929706A8538F}" dt="2023-04-20T14:16:05.975" v="222" actId="20577"/>
        <pc:sldMkLst>
          <pc:docMk/>
          <pc:sldMk cId="799080178" sldId="354"/>
        </pc:sldMkLst>
        <pc:spChg chg="mod">
          <ac:chgData name="Yusuf Satilmis" userId="a3e4faa8-c8db-46ed-9760-fe878fd9015c" providerId="ADAL" clId="{366D7E34-BB26-4FA7-92AD-929706A8538F}" dt="2023-04-20T14:16:05.975" v="222" actId="20577"/>
          <ac:spMkLst>
            <pc:docMk/>
            <pc:sldMk cId="799080178" sldId="354"/>
            <ac:spMk id="3" creationId="{ED069E0F-9C2D-4BBE-A579-EA1EFA578934}"/>
          </ac:spMkLst>
        </pc:spChg>
        <pc:spChg chg="mod">
          <ac:chgData name="Yusuf Satilmis" userId="a3e4faa8-c8db-46ed-9760-fe878fd9015c" providerId="ADAL" clId="{366D7E34-BB26-4FA7-92AD-929706A8538F}" dt="2023-04-20T14:16:01.006" v="216" actId="20577"/>
          <ac:spMkLst>
            <pc:docMk/>
            <pc:sldMk cId="799080178" sldId="354"/>
            <ac:spMk id="5" creationId="{6C17FF82-3C6B-FF63-7B7C-8A4519711977}"/>
          </ac:spMkLst>
        </pc:spChg>
        <pc:spChg chg="del">
          <ac:chgData name="Yusuf Satilmis" userId="a3e4faa8-c8db-46ed-9760-fe878fd9015c" providerId="ADAL" clId="{366D7E34-BB26-4FA7-92AD-929706A8538F}" dt="2023-04-20T14:15:48.815" v="212" actId="478"/>
          <ac:spMkLst>
            <pc:docMk/>
            <pc:sldMk cId="799080178" sldId="354"/>
            <ac:spMk id="7" creationId="{DB055FE9-46B8-0AF7-225B-8FDD2CE646F6}"/>
          </ac:spMkLst>
        </pc:spChg>
        <pc:picChg chg="del">
          <ac:chgData name="Yusuf Satilmis" userId="a3e4faa8-c8db-46ed-9760-fe878fd9015c" providerId="ADAL" clId="{366D7E34-BB26-4FA7-92AD-929706A8538F}" dt="2023-04-20T14:15:46.070" v="211" actId="478"/>
          <ac:picMkLst>
            <pc:docMk/>
            <pc:sldMk cId="799080178" sldId="354"/>
            <ac:picMk id="1026" creationId="{40D994D1-C658-A952-5B0E-FC86B0CC0ADA}"/>
          </ac:picMkLst>
        </pc:picChg>
      </pc:sldChg>
      <pc:sldChg chg="del">
        <pc:chgData name="Yusuf Satilmis" userId="a3e4faa8-c8db-46ed-9760-fe878fd9015c" providerId="ADAL" clId="{366D7E34-BB26-4FA7-92AD-929706A8538F}" dt="2023-04-20T14:05:49.126" v="6" actId="47"/>
        <pc:sldMkLst>
          <pc:docMk/>
          <pc:sldMk cId="2259953443" sldId="358"/>
        </pc:sldMkLst>
      </pc:sldChg>
      <pc:sldChg chg="del">
        <pc:chgData name="Yusuf Satilmis" userId="a3e4faa8-c8db-46ed-9760-fe878fd9015c" providerId="ADAL" clId="{366D7E34-BB26-4FA7-92AD-929706A8538F}" dt="2023-04-20T14:05:49.138" v="7" actId="47"/>
        <pc:sldMkLst>
          <pc:docMk/>
          <pc:sldMk cId="410450650" sldId="359"/>
        </pc:sldMkLst>
      </pc:sldChg>
      <pc:sldChg chg="del">
        <pc:chgData name="Yusuf Satilmis" userId="a3e4faa8-c8db-46ed-9760-fe878fd9015c" providerId="ADAL" clId="{366D7E34-BB26-4FA7-92AD-929706A8538F}" dt="2023-04-20T14:05:49.149" v="8" actId="47"/>
        <pc:sldMkLst>
          <pc:docMk/>
          <pc:sldMk cId="2862951428" sldId="360"/>
        </pc:sldMkLst>
      </pc:sldChg>
      <pc:sldChg chg="del">
        <pc:chgData name="Yusuf Satilmis" userId="a3e4faa8-c8db-46ed-9760-fe878fd9015c" providerId="ADAL" clId="{366D7E34-BB26-4FA7-92AD-929706A8538F}" dt="2023-04-20T14:05:49.187" v="9" actId="47"/>
        <pc:sldMkLst>
          <pc:docMk/>
          <pc:sldMk cId="3018855120" sldId="361"/>
        </pc:sldMkLst>
      </pc:sldChg>
      <pc:sldChg chg="del">
        <pc:chgData name="Yusuf Satilmis" userId="a3e4faa8-c8db-46ed-9760-fe878fd9015c" providerId="ADAL" clId="{366D7E34-BB26-4FA7-92AD-929706A8538F}" dt="2023-04-20T14:05:49.236" v="10" actId="47"/>
        <pc:sldMkLst>
          <pc:docMk/>
          <pc:sldMk cId="1159331560" sldId="362"/>
        </pc:sldMkLst>
      </pc:sldChg>
      <pc:sldChg chg="del">
        <pc:chgData name="Yusuf Satilmis" userId="a3e4faa8-c8db-46ed-9760-fe878fd9015c" providerId="ADAL" clId="{366D7E34-BB26-4FA7-92AD-929706A8538F}" dt="2023-04-20T14:05:49.329" v="13" actId="47"/>
        <pc:sldMkLst>
          <pc:docMk/>
          <pc:sldMk cId="2493495291" sldId="363"/>
        </pc:sldMkLst>
      </pc:sldChg>
      <pc:sldChg chg="del">
        <pc:chgData name="Yusuf Satilmis" userId="a3e4faa8-c8db-46ed-9760-fe878fd9015c" providerId="ADAL" clId="{366D7E34-BB26-4FA7-92AD-929706A8538F}" dt="2023-04-20T14:05:49.297" v="12" actId="47"/>
        <pc:sldMkLst>
          <pc:docMk/>
          <pc:sldMk cId="2748988859" sldId="364"/>
        </pc:sldMkLst>
      </pc:sldChg>
      <pc:sldChg chg="del">
        <pc:chgData name="Yusuf Satilmis" userId="a3e4faa8-c8db-46ed-9760-fe878fd9015c" providerId="ADAL" clId="{366D7E34-BB26-4FA7-92AD-929706A8538F}" dt="2023-04-20T14:05:49.270" v="11" actId="47"/>
        <pc:sldMkLst>
          <pc:docMk/>
          <pc:sldMk cId="1898864038" sldId="365"/>
        </pc:sldMkLst>
      </pc:sldChg>
      <pc:sldChg chg="del">
        <pc:chgData name="Yusuf Satilmis" userId="a3e4faa8-c8db-46ed-9760-fe878fd9015c" providerId="ADAL" clId="{366D7E34-BB26-4FA7-92AD-929706A8538F}" dt="2023-04-20T14:05:49.371" v="14" actId="47"/>
        <pc:sldMkLst>
          <pc:docMk/>
          <pc:sldMk cId="3756414290" sldId="366"/>
        </pc:sldMkLst>
      </pc:sldChg>
      <pc:sldChg chg="del">
        <pc:chgData name="Yusuf Satilmis" userId="a3e4faa8-c8db-46ed-9760-fe878fd9015c" providerId="ADAL" clId="{366D7E34-BB26-4FA7-92AD-929706A8538F}" dt="2023-04-20T14:05:49.389" v="15" actId="47"/>
        <pc:sldMkLst>
          <pc:docMk/>
          <pc:sldMk cId="2439139275" sldId="367"/>
        </pc:sldMkLst>
      </pc:sldChg>
      <pc:sldChg chg="del">
        <pc:chgData name="Yusuf Satilmis" userId="a3e4faa8-c8db-46ed-9760-fe878fd9015c" providerId="ADAL" clId="{366D7E34-BB26-4FA7-92AD-929706A8538F}" dt="2023-04-20T14:05:49.561" v="20" actId="47"/>
        <pc:sldMkLst>
          <pc:docMk/>
          <pc:sldMk cId="3451802744" sldId="368"/>
        </pc:sldMkLst>
      </pc:sldChg>
      <pc:sldChg chg="del">
        <pc:chgData name="Yusuf Satilmis" userId="a3e4faa8-c8db-46ed-9760-fe878fd9015c" providerId="ADAL" clId="{366D7E34-BB26-4FA7-92AD-929706A8538F}" dt="2023-04-20T14:05:49.595" v="21" actId="47"/>
        <pc:sldMkLst>
          <pc:docMk/>
          <pc:sldMk cId="4283581330" sldId="374"/>
        </pc:sldMkLst>
      </pc:sldChg>
      <pc:sldChg chg="del">
        <pc:chgData name="Yusuf Satilmis" userId="a3e4faa8-c8db-46ed-9760-fe878fd9015c" providerId="ADAL" clId="{366D7E34-BB26-4FA7-92AD-929706A8538F}" dt="2023-04-20T14:05:49.823" v="28" actId="47"/>
        <pc:sldMkLst>
          <pc:docMk/>
          <pc:sldMk cId="1368633372" sldId="376"/>
        </pc:sldMkLst>
      </pc:sldChg>
      <pc:sldChg chg="del">
        <pc:chgData name="Yusuf Satilmis" userId="a3e4faa8-c8db-46ed-9760-fe878fd9015c" providerId="ADAL" clId="{366D7E34-BB26-4FA7-92AD-929706A8538F}" dt="2023-04-20T14:05:49.858" v="29" actId="47"/>
        <pc:sldMkLst>
          <pc:docMk/>
          <pc:sldMk cId="3659950536" sldId="377"/>
        </pc:sldMkLst>
      </pc:sldChg>
      <pc:sldChg chg="del">
        <pc:chgData name="Yusuf Satilmis" userId="a3e4faa8-c8db-46ed-9760-fe878fd9015c" providerId="ADAL" clId="{366D7E34-BB26-4FA7-92AD-929706A8538F}" dt="2023-04-20T14:05:49.619" v="22" actId="47"/>
        <pc:sldMkLst>
          <pc:docMk/>
          <pc:sldMk cId="1791289834" sldId="378"/>
        </pc:sldMkLst>
      </pc:sldChg>
      <pc:sldChg chg="del">
        <pc:chgData name="Yusuf Satilmis" userId="a3e4faa8-c8db-46ed-9760-fe878fd9015c" providerId="ADAL" clId="{366D7E34-BB26-4FA7-92AD-929706A8538F}" dt="2023-04-20T14:05:49.653" v="23" actId="47"/>
        <pc:sldMkLst>
          <pc:docMk/>
          <pc:sldMk cId="3443904784" sldId="379"/>
        </pc:sldMkLst>
      </pc:sldChg>
      <pc:sldChg chg="del">
        <pc:chgData name="Yusuf Satilmis" userId="a3e4faa8-c8db-46ed-9760-fe878fd9015c" providerId="ADAL" clId="{366D7E34-BB26-4FA7-92AD-929706A8538F}" dt="2023-04-20T14:05:49.685" v="24" actId="47"/>
        <pc:sldMkLst>
          <pc:docMk/>
          <pc:sldMk cId="2963373214" sldId="387"/>
        </pc:sldMkLst>
      </pc:sldChg>
      <pc:sldChg chg="del">
        <pc:chgData name="Yusuf Satilmis" userId="a3e4faa8-c8db-46ed-9760-fe878fd9015c" providerId="ADAL" clId="{366D7E34-BB26-4FA7-92AD-929706A8538F}" dt="2023-04-20T14:05:49.731" v="25" actId="47"/>
        <pc:sldMkLst>
          <pc:docMk/>
          <pc:sldMk cId="2008274014" sldId="388"/>
        </pc:sldMkLst>
      </pc:sldChg>
      <pc:sldChg chg="del">
        <pc:chgData name="Yusuf Satilmis" userId="a3e4faa8-c8db-46ed-9760-fe878fd9015c" providerId="ADAL" clId="{366D7E34-BB26-4FA7-92AD-929706A8538F}" dt="2023-04-20T14:05:49.754" v="26" actId="47"/>
        <pc:sldMkLst>
          <pc:docMk/>
          <pc:sldMk cId="1995236632" sldId="389"/>
        </pc:sldMkLst>
      </pc:sldChg>
      <pc:sldChg chg="del">
        <pc:chgData name="Yusuf Satilmis" userId="a3e4faa8-c8db-46ed-9760-fe878fd9015c" providerId="ADAL" clId="{366D7E34-BB26-4FA7-92AD-929706A8538F}" dt="2023-04-20T14:05:49.792" v="27" actId="47"/>
        <pc:sldMkLst>
          <pc:docMk/>
          <pc:sldMk cId="1205995160" sldId="391"/>
        </pc:sldMkLst>
      </pc:sldChg>
      <pc:sldChg chg="addSp delSp modSp add del mod ord">
        <pc:chgData name="Yusuf Satilmis" userId="a3e4faa8-c8db-46ed-9760-fe878fd9015c" providerId="ADAL" clId="{366D7E34-BB26-4FA7-92AD-929706A8538F}" dt="2023-05-02T09:29:16.277" v="1273" actId="13926"/>
        <pc:sldMkLst>
          <pc:docMk/>
          <pc:sldMk cId="1598411717" sldId="392"/>
        </pc:sldMkLst>
        <pc:spChg chg="mod">
          <ac:chgData name="Yusuf Satilmis" userId="a3e4faa8-c8db-46ed-9760-fe878fd9015c" providerId="ADAL" clId="{366D7E34-BB26-4FA7-92AD-929706A8538F}" dt="2023-04-20T14:26:55.504" v="471" actId="20577"/>
          <ac:spMkLst>
            <pc:docMk/>
            <pc:sldMk cId="1598411717" sldId="392"/>
            <ac:spMk id="2" creationId="{2AF10C8E-8505-7852-6597-3594E0185F9A}"/>
          </ac:spMkLst>
        </pc:spChg>
        <pc:spChg chg="del">
          <ac:chgData name="Yusuf Satilmis" userId="a3e4faa8-c8db-46ed-9760-fe878fd9015c" providerId="ADAL" clId="{366D7E34-BB26-4FA7-92AD-929706A8538F}" dt="2023-04-20T14:24:36.277" v="467" actId="478"/>
          <ac:spMkLst>
            <pc:docMk/>
            <pc:sldMk cId="1598411717" sldId="392"/>
            <ac:spMk id="4" creationId="{1F2F5E92-1C42-FD19-85E7-E465CA971FD6}"/>
          </ac:spMkLst>
        </pc:spChg>
        <pc:spChg chg="add mod">
          <ac:chgData name="Yusuf Satilmis" userId="a3e4faa8-c8db-46ed-9760-fe878fd9015c" providerId="ADAL" clId="{366D7E34-BB26-4FA7-92AD-929706A8538F}" dt="2023-05-02T09:29:16.277" v="1273" actId="13926"/>
          <ac:spMkLst>
            <pc:docMk/>
            <pc:sldMk cId="1598411717" sldId="392"/>
            <ac:spMk id="6" creationId="{78F55FCF-A6FE-58A2-F7ED-5E5538BFBF6F}"/>
          </ac:spMkLst>
        </pc:spChg>
      </pc:sldChg>
      <pc:sldChg chg="del">
        <pc:chgData name="Yusuf Satilmis" userId="a3e4faa8-c8db-46ed-9760-fe878fd9015c" providerId="ADAL" clId="{366D7E34-BB26-4FA7-92AD-929706A8538F}" dt="2023-04-20T14:05:49.418" v="16" actId="47"/>
        <pc:sldMkLst>
          <pc:docMk/>
          <pc:sldMk cId="3766508839" sldId="393"/>
        </pc:sldMkLst>
      </pc:sldChg>
      <pc:sldChg chg="addSp modSp new mod ord">
        <pc:chgData name="Yusuf Satilmis" userId="a3e4faa8-c8db-46ed-9760-fe878fd9015c" providerId="ADAL" clId="{366D7E34-BB26-4FA7-92AD-929706A8538F}" dt="2023-05-02T08:40:50.304" v="1192" actId="403"/>
        <pc:sldMkLst>
          <pc:docMk/>
          <pc:sldMk cId="4221281157" sldId="393"/>
        </pc:sldMkLst>
        <pc:spChg chg="mod">
          <ac:chgData name="Yusuf Satilmis" userId="a3e4faa8-c8db-46ed-9760-fe878fd9015c" providerId="ADAL" clId="{366D7E34-BB26-4FA7-92AD-929706A8538F}" dt="2023-04-20T14:17:02.353" v="246" actId="5793"/>
          <ac:spMkLst>
            <pc:docMk/>
            <pc:sldMk cId="4221281157" sldId="393"/>
            <ac:spMk id="2" creationId="{EA6F4494-B0C2-5F79-4DFD-0BE53D0F566E}"/>
          </ac:spMkLst>
        </pc:spChg>
        <pc:spChg chg="add mod">
          <ac:chgData name="Yusuf Satilmis" userId="a3e4faa8-c8db-46ed-9760-fe878fd9015c" providerId="ADAL" clId="{366D7E34-BB26-4FA7-92AD-929706A8538F}" dt="2023-05-02T08:40:50.304" v="1192" actId="403"/>
          <ac:spMkLst>
            <pc:docMk/>
            <pc:sldMk cId="4221281157" sldId="393"/>
            <ac:spMk id="4" creationId="{70D9F13C-DB6A-6513-7807-E02D04F8129D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9:30:30.686" v="1285" actId="1076"/>
        <pc:sldMkLst>
          <pc:docMk/>
          <pc:sldMk cId="1509779137" sldId="394"/>
        </pc:sldMkLst>
        <pc:spChg chg="mod">
          <ac:chgData name="Yusuf Satilmis" userId="a3e4faa8-c8db-46ed-9760-fe878fd9015c" providerId="ADAL" clId="{366D7E34-BB26-4FA7-92AD-929706A8538F}" dt="2023-04-20T14:19:03.563" v="333" actId="404"/>
          <ac:spMkLst>
            <pc:docMk/>
            <pc:sldMk cId="1509779137" sldId="394"/>
            <ac:spMk id="2" creationId="{8819BA64-EB8F-C1F9-E1FF-80FEFCF0E2B6}"/>
          </ac:spMkLst>
        </pc:spChg>
        <pc:spChg chg="add mod">
          <ac:chgData name="Yusuf Satilmis" userId="a3e4faa8-c8db-46ed-9760-fe878fd9015c" providerId="ADAL" clId="{366D7E34-BB26-4FA7-92AD-929706A8538F}" dt="2023-05-02T09:30:25.901" v="1284" actId="14100"/>
          <ac:spMkLst>
            <pc:docMk/>
            <pc:sldMk cId="1509779137" sldId="394"/>
            <ac:spMk id="4" creationId="{AC94910F-4474-783F-1631-A860B2B702F4}"/>
          </ac:spMkLst>
        </pc:spChg>
        <pc:spChg chg="add mod">
          <ac:chgData name="Yusuf Satilmis" userId="a3e4faa8-c8db-46ed-9760-fe878fd9015c" providerId="ADAL" clId="{366D7E34-BB26-4FA7-92AD-929706A8538F}" dt="2023-04-20T14:24:41.619" v="468"/>
          <ac:spMkLst>
            <pc:docMk/>
            <pc:sldMk cId="1509779137" sldId="394"/>
            <ac:spMk id="5" creationId="{51F95C17-4C93-62C7-7359-C7AA72926DEF}"/>
          </ac:spMkLst>
        </pc:spChg>
        <pc:spChg chg="add mod">
          <ac:chgData name="Yusuf Satilmis" userId="a3e4faa8-c8db-46ed-9760-fe878fd9015c" providerId="ADAL" clId="{366D7E34-BB26-4FA7-92AD-929706A8538F}" dt="2023-05-02T09:30:30.686" v="1285" actId="1076"/>
          <ac:spMkLst>
            <pc:docMk/>
            <pc:sldMk cId="1509779137" sldId="394"/>
            <ac:spMk id="7" creationId="{8EF929F6-EB6B-7BA2-D547-3C1B65A03B44}"/>
          </ac:spMkLst>
        </pc:spChg>
      </pc:sldChg>
      <pc:sldChg chg="addSp delSp modSp new mod ord modNotesTx">
        <pc:chgData name="Yusuf Satilmis" userId="a3e4faa8-c8db-46ed-9760-fe878fd9015c" providerId="ADAL" clId="{366D7E34-BB26-4FA7-92AD-929706A8538F}" dt="2023-04-20T14:23:11.156" v="410"/>
        <pc:sldMkLst>
          <pc:docMk/>
          <pc:sldMk cId="3061420282" sldId="395"/>
        </pc:sldMkLst>
        <pc:spChg chg="mod">
          <ac:chgData name="Yusuf Satilmis" userId="a3e4faa8-c8db-46ed-9760-fe878fd9015c" providerId="ADAL" clId="{366D7E34-BB26-4FA7-92AD-929706A8538F}" dt="2023-04-20T14:21:38.201" v="371" actId="1076"/>
          <ac:spMkLst>
            <pc:docMk/>
            <pc:sldMk cId="3061420282" sldId="395"/>
            <ac:spMk id="2" creationId="{9860395C-2CB9-3CB7-5CA9-5D6B17827AFB}"/>
          </ac:spMkLst>
        </pc:spChg>
        <pc:spChg chg="add del">
          <ac:chgData name="Yusuf Satilmis" userId="a3e4faa8-c8db-46ed-9760-fe878fd9015c" providerId="ADAL" clId="{366D7E34-BB26-4FA7-92AD-929706A8538F}" dt="2023-04-20T14:20:10.784" v="340" actId="22"/>
          <ac:spMkLst>
            <pc:docMk/>
            <pc:sldMk cId="3061420282" sldId="395"/>
            <ac:spMk id="4" creationId="{10F1D14F-EA18-D276-D774-E6F74A1C556A}"/>
          </ac:spMkLst>
        </pc:spChg>
        <pc:spChg chg="add mod">
          <ac:chgData name="Yusuf Satilmis" userId="a3e4faa8-c8db-46ed-9760-fe878fd9015c" providerId="ADAL" clId="{366D7E34-BB26-4FA7-92AD-929706A8538F}" dt="2023-04-20T14:21:55.339" v="374"/>
          <ac:spMkLst>
            <pc:docMk/>
            <pc:sldMk cId="3061420282" sldId="395"/>
            <ac:spMk id="5" creationId="{B7CDB02F-DC82-A598-F22D-89175FE1EC47}"/>
          </ac:spMkLst>
        </pc:spChg>
        <pc:picChg chg="add mod">
          <ac:chgData name="Yusuf Satilmis" userId="a3e4faa8-c8db-46ed-9760-fe878fd9015c" providerId="ADAL" clId="{366D7E34-BB26-4FA7-92AD-929706A8538F}" dt="2023-04-20T14:21:46.932" v="373" actId="12788"/>
          <ac:picMkLst>
            <pc:docMk/>
            <pc:sldMk cId="3061420282" sldId="395"/>
            <ac:picMk id="1026" creationId="{AE061B9F-A410-73DC-13CD-C14A767DCCE8}"/>
          </ac:picMkLst>
        </pc:picChg>
      </pc:sldChg>
      <pc:sldChg chg="addSp modSp new mod ord modNotesTx">
        <pc:chgData name="Yusuf Satilmis" userId="a3e4faa8-c8db-46ed-9760-fe878fd9015c" providerId="ADAL" clId="{366D7E34-BB26-4FA7-92AD-929706A8538F}" dt="2023-04-20T14:24:27.643" v="466"/>
        <pc:sldMkLst>
          <pc:docMk/>
          <pc:sldMk cId="2659760428" sldId="396"/>
        </pc:sldMkLst>
        <pc:spChg chg="mod">
          <ac:chgData name="Yusuf Satilmis" userId="a3e4faa8-c8db-46ed-9760-fe878fd9015c" providerId="ADAL" clId="{366D7E34-BB26-4FA7-92AD-929706A8538F}" dt="2023-04-20T14:23:37.399" v="435" actId="20577"/>
          <ac:spMkLst>
            <pc:docMk/>
            <pc:sldMk cId="2659760428" sldId="396"/>
            <ac:spMk id="2" creationId="{B2049138-1F77-CEDC-F84E-1557D14DB4B4}"/>
          </ac:spMkLst>
        </pc:spChg>
        <pc:picChg chg="add mod">
          <ac:chgData name="Yusuf Satilmis" userId="a3e4faa8-c8db-46ed-9760-fe878fd9015c" providerId="ADAL" clId="{366D7E34-BB26-4FA7-92AD-929706A8538F}" dt="2023-04-20T14:23:30.228" v="416" actId="1076"/>
          <ac:picMkLst>
            <pc:docMk/>
            <pc:sldMk cId="2659760428" sldId="396"/>
            <ac:picMk id="2050" creationId="{89F73A2F-F645-0508-7AC2-D5ED8FE8015C}"/>
          </ac:picMkLst>
        </pc:picChg>
      </pc:sldChg>
      <pc:sldChg chg="addSp modSp new mod ord">
        <pc:chgData name="Yusuf Satilmis" userId="a3e4faa8-c8db-46ed-9760-fe878fd9015c" providerId="ADAL" clId="{366D7E34-BB26-4FA7-92AD-929706A8538F}" dt="2023-05-02T09:43:21.414" v="1300" actId="20577"/>
        <pc:sldMkLst>
          <pc:docMk/>
          <pc:sldMk cId="3773760650" sldId="397"/>
        </pc:sldMkLst>
        <pc:spChg chg="mod">
          <ac:chgData name="Yusuf Satilmis" userId="a3e4faa8-c8db-46ed-9760-fe878fd9015c" providerId="ADAL" clId="{366D7E34-BB26-4FA7-92AD-929706A8538F}" dt="2023-04-20T14:35:28.437" v="534" actId="20577"/>
          <ac:spMkLst>
            <pc:docMk/>
            <pc:sldMk cId="3773760650" sldId="397"/>
            <ac:spMk id="2" creationId="{9506A4A6-7813-B0E2-9E16-95A06034DF85}"/>
          </ac:spMkLst>
        </pc:spChg>
        <pc:spChg chg="add mod">
          <ac:chgData name="Yusuf Satilmis" userId="a3e4faa8-c8db-46ed-9760-fe878fd9015c" providerId="ADAL" clId="{366D7E34-BB26-4FA7-92AD-929706A8538F}" dt="2023-04-20T14:37:34.518" v="553" actId="1076"/>
          <ac:spMkLst>
            <pc:docMk/>
            <pc:sldMk cId="3773760650" sldId="397"/>
            <ac:spMk id="4" creationId="{520CB8EF-1F7B-8A65-0E7B-4B61346BDD44}"/>
          </ac:spMkLst>
        </pc:spChg>
        <pc:spChg chg="add mod">
          <ac:chgData name="Yusuf Satilmis" userId="a3e4faa8-c8db-46ed-9760-fe878fd9015c" providerId="ADAL" clId="{366D7E34-BB26-4FA7-92AD-929706A8538F}" dt="2023-05-02T09:43:21.414" v="1300" actId="20577"/>
          <ac:spMkLst>
            <pc:docMk/>
            <pc:sldMk cId="3773760650" sldId="397"/>
            <ac:spMk id="6" creationId="{C3D1E72E-DCBA-35FA-4C89-9734BF65F9A9}"/>
          </ac:spMkLst>
        </pc:spChg>
      </pc:sldChg>
      <pc:sldChg chg="addSp delSp modSp new mod">
        <pc:chgData name="Yusuf Satilmis" userId="a3e4faa8-c8db-46ed-9760-fe878fd9015c" providerId="ADAL" clId="{366D7E34-BB26-4FA7-92AD-929706A8538F}" dt="2023-04-20T14:51:58.530" v="638" actId="1076"/>
        <pc:sldMkLst>
          <pc:docMk/>
          <pc:sldMk cId="831066449" sldId="398"/>
        </pc:sldMkLst>
        <pc:spChg chg="mod">
          <ac:chgData name="Yusuf Satilmis" userId="a3e4faa8-c8db-46ed-9760-fe878fd9015c" providerId="ADAL" clId="{366D7E34-BB26-4FA7-92AD-929706A8538F}" dt="2023-04-20T14:48:07.159" v="577" actId="20577"/>
          <ac:spMkLst>
            <pc:docMk/>
            <pc:sldMk cId="831066449" sldId="398"/>
            <ac:spMk id="2" creationId="{337BEB65-7F85-AD21-3E50-2819CE68D950}"/>
          </ac:spMkLst>
        </pc:spChg>
        <pc:spChg chg="add del mod">
          <ac:chgData name="Yusuf Satilmis" userId="a3e4faa8-c8db-46ed-9760-fe878fd9015c" providerId="ADAL" clId="{366D7E34-BB26-4FA7-92AD-929706A8538F}" dt="2023-04-20T14:49:35.765" v="601" actId="21"/>
          <ac:spMkLst>
            <pc:docMk/>
            <pc:sldMk cId="831066449" sldId="398"/>
            <ac:spMk id="4" creationId="{D8F5758E-E81C-BCBA-1F87-1BAD03891F6D}"/>
          </ac:spMkLst>
        </pc:spChg>
        <pc:spChg chg="add del">
          <ac:chgData name="Yusuf Satilmis" userId="a3e4faa8-c8db-46ed-9760-fe878fd9015c" providerId="ADAL" clId="{366D7E34-BB26-4FA7-92AD-929706A8538F}" dt="2023-04-20T14:49:18.073" v="590"/>
          <ac:spMkLst>
            <pc:docMk/>
            <pc:sldMk cId="831066449" sldId="398"/>
            <ac:spMk id="5" creationId="{AE367EDC-9FD3-7784-C7EC-A24E94754A04}"/>
          </ac:spMkLst>
        </pc:spChg>
        <pc:spChg chg="add del">
          <ac:chgData name="Yusuf Satilmis" userId="a3e4faa8-c8db-46ed-9760-fe878fd9015c" providerId="ADAL" clId="{366D7E34-BB26-4FA7-92AD-929706A8538F}" dt="2023-04-20T14:49:21.908" v="593"/>
          <ac:spMkLst>
            <pc:docMk/>
            <pc:sldMk cId="831066449" sldId="398"/>
            <ac:spMk id="6" creationId="{0937FA8A-2740-7E92-7F85-E0A46C689292}"/>
          </ac:spMkLst>
        </pc:spChg>
        <pc:spChg chg="add mod">
          <ac:chgData name="Yusuf Satilmis" userId="a3e4faa8-c8db-46ed-9760-fe878fd9015c" providerId="ADAL" clId="{366D7E34-BB26-4FA7-92AD-929706A8538F}" dt="2023-04-20T14:50:18.951" v="632" actId="20577"/>
          <ac:spMkLst>
            <pc:docMk/>
            <pc:sldMk cId="831066449" sldId="398"/>
            <ac:spMk id="8" creationId="{38437D56-3204-384D-14FC-E7D4FCEE0775}"/>
          </ac:spMkLst>
        </pc:spChg>
        <pc:spChg chg="add del">
          <ac:chgData name="Yusuf Satilmis" userId="a3e4faa8-c8db-46ed-9760-fe878fd9015c" providerId="ADAL" clId="{366D7E34-BB26-4FA7-92AD-929706A8538F}" dt="2023-04-20T14:51:46.843" v="634"/>
          <ac:spMkLst>
            <pc:docMk/>
            <pc:sldMk cId="831066449" sldId="398"/>
            <ac:spMk id="9" creationId="{5BE59F58-6A2A-7AAF-11DF-5134BE3BC901}"/>
          </ac:spMkLst>
        </pc:spChg>
        <pc:picChg chg="add mod">
          <ac:chgData name="Yusuf Satilmis" userId="a3e4faa8-c8db-46ed-9760-fe878fd9015c" providerId="ADAL" clId="{366D7E34-BB26-4FA7-92AD-929706A8538F}" dt="2023-04-20T14:51:58.530" v="638" actId="1076"/>
          <ac:picMkLst>
            <pc:docMk/>
            <pc:sldMk cId="831066449" sldId="398"/>
            <ac:picMk id="10" creationId="{139FCD2E-0C4D-18B8-A0B0-C3B06CBEA9C9}"/>
          </ac:picMkLst>
        </pc:picChg>
      </pc:sldChg>
      <pc:sldChg chg="addSp modSp new mod">
        <pc:chgData name="Yusuf Satilmis" userId="a3e4faa8-c8db-46ed-9760-fe878fd9015c" providerId="ADAL" clId="{366D7E34-BB26-4FA7-92AD-929706A8538F}" dt="2023-05-02T09:28:42.241" v="1270" actId="1035"/>
        <pc:sldMkLst>
          <pc:docMk/>
          <pc:sldMk cId="3855116062" sldId="399"/>
        </pc:sldMkLst>
        <pc:spChg chg="mod">
          <ac:chgData name="Yusuf Satilmis" userId="a3e4faa8-c8db-46ed-9760-fe878fd9015c" providerId="ADAL" clId="{366D7E34-BB26-4FA7-92AD-929706A8538F}" dt="2023-04-20T14:49:48.289" v="628" actId="20577"/>
          <ac:spMkLst>
            <pc:docMk/>
            <pc:sldMk cId="3855116062" sldId="399"/>
            <ac:spMk id="2" creationId="{2302E76F-349B-8D6D-ACAF-2B506E22DBD7}"/>
          </ac:spMkLst>
        </pc:spChg>
        <pc:spChg chg="add mod">
          <ac:chgData name="Yusuf Satilmis" userId="a3e4faa8-c8db-46ed-9760-fe878fd9015c" providerId="ADAL" clId="{366D7E34-BB26-4FA7-92AD-929706A8538F}" dt="2023-05-02T09:28:42.241" v="1270" actId="1035"/>
          <ac:spMkLst>
            <pc:docMk/>
            <pc:sldMk cId="3855116062" sldId="399"/>
            <ac:spMk id="3" creationId="{F73AEACE-53E1-D55D-3FAE-371624BE10C6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9:27:33.488" v="1205" actId="108"/>
        <pc:sldMkLst>
          <pc:docMk/>
          <pc:sldMk cId="3625749153" sldId="400"/>
        </pc:sldMkLst>
        <pc:spChg chg="mod">
          <ac:chgData name="Yusuf Satilmis" userId="a3e4faa8-c8db-46ed-9760-fe878fd9015c" providerId="ADAL" clId="{366D7E34-BB26-4FA7-92AD-929706A8538F}" dt="2023-04-20T14:53:02.348" v="671" actId="404"/>
          <ac:spMkLst>
            <pc:docMk/>
            <pc:sldMk cId="3625749153" sldId="400"/>
            <ac:spMk id="2" creationId="{757303D4-9294-79D8-7B82-F52DA17256C8}"/>
          </ac:spMkLst>
        </pc:spChg>
        <pc:spChg chg="add mod">
          <ac:chgData name="Yusuf Satilmis" userId="a3e4faa8-c8db-46ed-9760-fe878fd9015c" providerId="ADAL" clId="{366D7E34-BB26-4FA7-92AD-929706A8538F}" dt="2023-05-02T09:27:33.488" v="1205" actId="108"/>
          <ac:spMkLst>
            <pc:docMk/>
            <pc:sldMk cId="3625749153" sldId="400"/>
            <ac:spMk id="4" creationId="{FA0AE55D-208E-7D08-52B9-C794F9204E34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9:27:18.004" v="1202" actId="13926"/>
        <pc:sldMkLst>
          <pc:docMk/>
          <pc:sldMk cId="4254586983" sldId="401"/>
        </pc:sldMkLst>
        <pc:spChg chg="mod">
          <ac:chgData name="Yusuf Satilmis" userId="a3e4faa8-c8db-46ed-9760-fe878fd9015c" providerId="ADAL" clId="{366D7E34-BB26-4FA7-92AD-929706A8538F}" dt="2023-04-20T14:57:52.281" v="692" actId="20577"/>
          <ac:spMkLst>
            <pc:docMk/>
            <pc:sldMk cId="4254586983" sldId="401"/>
            <ac:spMk id="2" creationId="{0246FCB3-69DC-A2E3-7991-2921DB1AD51D}"/>
          </ac:spMkLst>
        </pc:spChg>
        <pc:spChg chg="add mod">
          <ac:chgData name="Yusuf Satilmis" userId="a3e4faa8-c8db-46ed-9760-fe878fd9015c" providerId="ADAL" clId="{366D7E34-BB26-4FA7-92AD-929706A8538F}" dt="2023-05-02T09:27:18.004" v="1202" actId="13926"/>
          <ac:spMkLst>
            <pc:docMk/>
            <pc:sldMk cId="4254586983" sldId="401"/>
            <ac:spMk id="4" creationId="{7BFF057C-0028-EEFC-80EA-26B21B2D55A7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8:42:02.990" v="1198" actId="13926"/>
        <pc:sldMkLst>
          <pc:docMk/>
          <pc:sldMk cId="1264802670" sldId="402"/>
        </pc:sldMkLst>
        <pc:spChg chg="mod">
          <ac:chgData name="Yusuf Satilmis" userId="a3e4faa8-c8db-46ed-9760-fe878fd9015c" providerId="ADAL" clId="{366D7E34-BB26-4FA7-92AD-929706A8538F}" dt="2023-04-20T14:58:36.342" v="714" actId="20577"/>
          <ac:spMkLst>
            <pc:docMk/>
            <pc:sldMk cId="1264802670" sldId="402"/>
            <ac:spMk id="2" creationId="{4A39B02C-4E17-5056-014A-52C581BC9264}"/>
          </ac:spMkLst>
        </pc:spChg>
        <pc:spChg chg="add mod">
          <ac:chgData name="Yusuf Satilmis" userId="a3e4faa8-c8db-46ed-9760-fe878fd9015c" providerId="ADAL" clId="{366D7E34-BB26-4FA7-92AD-929706A8538F}" dt="2023-05-02T08:42:02.990" v="1198" actId="13926"/>
          <ac:spMkLst>
            <pc:docMk/>
            <pc:sldMk cId="1264802670" sldId="402"/>
            <ac:spMk id="4" creationId="{675BF772-2948-E3F1-3B47-B4415E435BEF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8:42:14.115" v="1201" actId="13926"/>
        <pc:sldMkLst>
          <pc:docMk/>
          <pc:sldMk cId="3179181753" sldId="403"/>
        </pc:sldMkLst>
        <pc:spChg chg="mod">
          <ac:chgData name="Yusuf Satilmis" userId="a3e4faa8-c8db-46ed-9760-fe878fd9015c" providerId="ADAL" clId="{366D7E34-BB26-4FA7-92AD-929706A8538F}" dt="2023-04-20T14:59:39.829" v="744" actId="20577"/>
          <ac:spMkLst>
            <pc:docMk/>
            <pc:sldMk cId="3179181753" sldId="403"/>
            <ac:spMk id="2" creationId="{24EE38F4-421E-AB0B-5839-18086BA41BA8}"/>
          </ac:spMkLst>
        </pc:spChg>
        <pc:spChg chg="add mod">
          <ac:chgData name="Yusuf Satilmis" userId="a3e4faa8-c8db-46ed-9760-fe878fd9015c" providerId="ADAL" clId="{366D7E34-BB26-4FA7-92AD-929706A8538F}" dt="2023-05-02T08:42:14.115" v="1201" actId="13926"/>
          <ac:spMkLst>
            <pc:docMk/>
            <pc:sldMk cId="3179181753" sldId="403"/>
            <ac:spMk id="4" creationId="{6D78FA41-EEE7-B0FF-0F55-3B7157BF1131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9:30:50.391" v="1288" actId="13926"/>
        <pc:sldMkLst>
          <pc:docMk/>
          <pc:sldMk cId="3800129767" sldId="404"/>
        </pc:sldMkLst>
        <pc:spChg chg="mod">
          <ac:chgData name="Yusuf Satilmis" userId="a3e4faa8-c8db-46ed-9760-fe878fd9015c" providerId="ADAL" clId="{366D7E34-BB26-4FA7-92AD-929706A8538F}" dt="2023-04-20T15:00:07.473" v="767" actId="20577"/>
          <ac:spMkLst>
            <pc:docMk/>
            <pc:sldMk cId="3800129767" sldId="404"/>
            <ac:spMk id="2" creationId="{6CB25893-0254-7658-022D-9A7E8655B94F}"/>
          </ac:spMkLst>
        </pc:spChg>
        <pc:spChg chg="add mod">
          <ac:chgData name="Yusuf Satilmis" userId="a3e4faa8-c8db-46ed-9760-fe878fd9015c" providerId="ADAL" clId="{366D7E34-BB26-4FA7-92AD-929706A8538F}" dt="2023-05-02T09:30:50.391" v="1288" actId="13926"/>
          <ac:spMkLst>
            <pc:docMk/>
            <pc:sldMk cId="3800129767" sldId="404"/>
            <ac:spMk id="4" creationId="{CF637FF3-CF03-DA74-FF41-CB7D31069D33}"/>
          </ac:spMkLst>
        </pc:spChg>
      </pc:sldChg>
      <pc:sldChg chg="addSp delSp modSp new mod modAnim">
        <pc:chgData name="Yusuf Satilmis" userId="a3e4faa8-c8db-46ed-9760-fe878fd9015c" providerId="ADAL" clId="{366D7E34-BB26-4FA7-92AD-929706A8538F}" dt="2023-04-20T15:21:12.371" v="1022"/>
        <pc:sldMkLst>
          <pc:docMk/>
          <pc:sldMk cId="4140432945" sldId="405"/>
        </pc:sldMkLst>
        <pc:spChg chg="mod">
          <ac:chgData name="Yusuf Satilmis" userId="a3e4faa8-c8db-46ed-9760-fe878fd9015c" providerId="ADAL" clId="{366D7E34-BB26-4FA7-92AD-929706A8538F}" dt="2023-04-20T15:13:02.931" v="784" actId="20577"/>
          <ac:spMkLst>
            <pc:docMk/>
            <pc:sldMk cId="4140432945" sldId="405"/>
            <ac:spMk id="2" creationId="{295C4A33-FFDF-F50C-41D4-88E6D4A245F7}"/>
          </ac:spMkLst>
        </pc:spChg>
        <pc:spChg chg="add del mod">
          <ac:chgData name="Yusuf Satilmis" userId="a3e4faa8-c8db-46ed-9760-fe878fd9015c" providerId="ADAL" clId="{366D7E34-BB26-4FA7-92AD-929706A8538F}" dt="2023-04-20T15:15:16.043" v="789"/>
          <ac:spMkLst>
            <pc:docMk/>
            <pc:sldMk cId="4140432945" sldId="405"/>
            <ac:spMk id="3" creationId="{2C4D4900-60D2-DC5D-5747-EE9D9819C1C7}"/>
          </ac:spMkLst>
        </pc:spChg>
        <pc:spChg chg="add mod">
          <ac:chgData name="Yusuf Satilmis" userId="a3e4faa8-c8db-46ed-9760-fe878fd9015c" providerId="ADAL" clId="{366D7E34-BB26-4FA7-92AD-929706A8538F}" dt="2023-04-20T15:17:56.539" v="894" actId="113"/>
          <ac:spMkLst>
            <pc:docMk/>
            <pc:sldMk cId="4140432945" sldId="405"/>
            <ac:spMk id="8" creationId="{881C843C-C7D0-C29A-FC2F-687B5607FF4D}"/>
          </ac:spMkLst>
        </pc:spChg>
        <pc:spChg chg="add del mod">
          <ac:chgData name="Yusuf Satilmis" userId="a3e4faa8-c8db-46ed-9760-fe878fd9015c" providerId="ADAL" clId="{366D7E34-BB26-4FA7-92AD-929706A8538F}" dt="2023-04-20T15:18:07.138" v="899"/>
          <ac:spMkLst>
            <pc:docMk/>
            <pc:sldMk cId="4140432945" sldId="405"/>
            <ac:spMk id="9" creationId="{8C138CD6-B01B-F71D-6476-321041E88180}"/>
          </ac:spMkLst>
        </pc:spChg>
        <pc:spChg chg="add mod">
          <ac:chgData name="Yusuf Satilmis" userId="a3e4faa8-c8db-46ed-9760-fe878fd9015c" providerId="ADAL" clId="{366D7E34-BB26-4FA7-92AD-929706A8538F}" dt="2023-04-20T15:19:00.450" v="950" actId="207"/>
          <ac:spMkLst>
            <pc:docMk/>
            <pc:sldMk cId="4140432945" sldId="405"/>
            <ac:spMk id="14" creationId="{A4BCB0DE-F92B-B6F2-ACF3-D86FD5B0175B}"/>
          </ac:spMkLst>
        </pc:spChg>
        <pc:spChg chg="add mod">
          <ac:chgData name="Yusuf Satilmis" userId="a3e4faa8-c8db-46ed-9760-fe878fd9015c" providerId="ADAL" clId="{366D7E34-BB26-4FA7-92AD-929706A8538F}" dt="2023-04-20T15:20:53.389" v="1019" actId="207"/>
          <ac:spMkLst>
            <pc:docMk/>
            <pc:sldMk cId="4140432945" sldId="405"/>
            <ac:spMk id="16" creationId="{9E5AE926-6B35-310A-5873-E8A5963494A9}"/>
          </ac:spMkLst>
        </pc:spChg>
        <pc:graphicFrameChg chg="add del mod">
          <ac:chgData name="Yusuf Satilmis" userId="a3e4faa8-c8db-46ed-9760-fe878fd9015c" providerId="ADAL" clId="{366D7E34-BB26-4FA7-92AD-929706A8538F}" dt="2023-04-20T15:15:16.043" v="789"/>
          <ac:graphicFrameMkLst>
            <pc:docMk/>
            <pc:sldMk cId="4140432945" sldId="405"/>
            <ac:graphicFrameMk id="4" creationId="{F0EB5370-457B-E9B8-BC42-3F080F9A4C0F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5:16.043" v="789"/>
          <ac:graphicFrameMkLst>
            <pc:docMk/>
            <pc:sldMk cId="4140432945" sldId="405"/>
            <ac:graphicFrameMk id="5" creationId="{F707C3D0-951C-2A87-8E2E-3BBB5D660195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5:16.043" v="789"/>
          <ac:graphicFrameMkLst>
            <pc:docMk/>
            <pc:sldMk cId="4140432945" sldId="405"/>
            <ac:graphicFrameMk id="6" creationId="{94C3E9FE-8107-2B55-AD02-D38F8AE9DAEE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8:07.138" v="899"/>
          <ac:graphicFrameMkLst>
            <pc:docMk/>
            <pc:sldMk cId="4140432945" sldId="405"/>
            <ac:graphicFrameMk id="10" creationId="{75DFF11B-FFD6-8B4F-E5C9-8DC006F6CDB7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8:07.138" v="899"/>
          <ac:graphicFrameMkLst>
            <pc:docMk/>
            <pc:sldMk cId="4140432945" sldId="405"/>
            <ac:graphicFrameMk id="11" creationId="{F2809BF3-0429-87FD-7923-FA1F72DF00F0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8:07.138" v="899"/>
          <ac:graphicFrameMkLst>
            <pc:docMk/>
            <pc:sldMk cId="4140432945" sldId="405"/>
            <ac:graphicFrameMk id="12" creationId="{D3C02CAE-9211-19BD-C6A3-2C1FCBC759EF}"/>
          </ac:graphicFrameMkLst>
        </pc:graphicFrameChg>
      </pc:sldChg>
      <pc:sldChg chg="addSp modSp new mod ord modAnim">
        <pc:chgData name="Yusuf Satilmis" userId="a3e4faa8-c8db-46ed-9760-fe878fd9015c" providerId="ADAL" clId="{366D7E34-BB26-4FA7-92AD-929706A8538F}" dt="2023-04-21T10:09:08.463" v="1146"/>
        <pc:sldMkLst>
          <pc:docMk/>
          <pc:sldMk cId="578819293" sldId="406"/>
        </pc:sldMkLst>
        <pc:spChg chg="mod">
          <ac:chgData name="Yusuf Satilmis" userId="a3e4faa8-c8db-46ed-9760-fe878fd9015c" providerId="ADAL" clId="{366D7E34-BB26-4FA7-92AD-929706A8538F}" dt="2023-04-21T10:08:11.231" v="1138" actId="207"/>
          <ac:spMkLst>
            <pc:docMk/>
            <pc:sldMk cId="578819293" sldId="406"/>
            <ac:spMk id="2" creationId="{CA1CDA85-5D6D-37C0-7B94-EDEC9AA674C2}"/>
          </ac:spMkLst>
        </pc:spChg>
        <pc:spChg chg="add mod">
          <ac:chgData name="Yusuf Satilmis" userId="a3e4faa8-c8db-46ed-9760-fe878fd9015c" providerId="ADAL" clId="{366D7E34-BB26-4FA7-92AD-929706A8538F}" dt="2023-04-21T10:08:24.040" v="1143" actId="255"/>
          <ac:spMkLst>
            <pc:docMk/>
            <pc:sldMk cId="578819293" sldId="406"/>
            <ac:spMk id="3" creationId="{7FF17946-86C7-D88C-370A-EFEFA3C4CA5A}"/>
          </ac:spMkLst>
        </pc:spChg>
        <pc:picChg chg="add mod">
          <ac:chgData name="Yusuf Satilmis" userId="a3e4faa8-c8db-46ed-9760-fe878fd9015c" providerId="ADAL" clId="{366D7E34-BB26-4FA7-92AD-929706A8538F}" dt="2023-04-21T10:07:13.203" v="1098" actId="1076"/>
          <ac:picMkLst>
            <pc:docMk/>
            <pc:sldMk cId="578819293" sldId="406"/>
            <ac:picMk id="4" creationId="{12A0D36D-890A-55F4-1419-CAAF89738A71}"/>
          </ac:picMkLst>
        </pc:picChg>
        <pc:picChg chg="add mod">
          <ac:chgData name="Yusuf Satilmis" userId="a3e4faa8-c8db-46ed-9760-fe878fd9015c" providerId="ADAL" clId="{366D7E34-BB26-4FA7-92AD-929706A8538F}" dt="2023-04-21T10:07:14.857" v="1099" actId="1076"/>
          <ac:picMkLst>
            <pc:docMk/>
            <pc:sldMk cId="578819293" sldId="406"/>
            <ac:picMk id="5" creationId="{6F691AAF-22A9-AB67-0CC9-A8E2468E8023}"/>
          </ac:picMkLst>
        </pc:picChg>
        <pc:picChg chg="add mod">
          <ac:chgData name="Yusuf Satilmis" userId="a3e4faa8-c8db-46ed-9760-fe878fd9015c" providerId="ADAL" clId="{366D7E34-BB26-4FA7-92AD-929706A8538F}" dt="2023-04-21T10:07:01.506" v="1097" actId="1076"/>
          <ac:picMkLst>
            <pc:docMk/>
            <pc:sldMk cId="578819293" sldId="406"/>
            <ac:picMk id="6" creationId="{DCCD370B-251A-922E-D4E9-8E44B4D67A0D}"/>
          </ac:picMkLst>
        </pc:picChg>
      </pc:sldChg>
      <pc:sldChg chg="addSp modSp new mod">
        <pc:chgData name="Yusuf Satilmis" userId="a3e4faa8-c8db-46ed-9760-fe878fd9015c" providerId="ADAL" clId="{366D7E34-BB26-4FA7-92AD-929706A8538F}" dt="2023-04-21T10:10:44.015" v="1189" actId="108"/>
        <pc:sldMkLst>
          <pc:docMk/>
          <pc:sldMk cId="2005731187" sldId="407"/>
        </pc:sldMkLst>
        <pc:spChg chg="mod">
          <ac:chgData name="Yusuf Satilmis" userId="a3e4faa8-c8db-46ed-9760-fe878fd9015c" providerId="ADAL" clId="{366D7E34-BB26-4FA7-92AD-929706A8538F}" dt="2023-04-21T10:09:55.238" v="1172" actId="20577"/>
          <ac:spMkLst>
            <pc:docMk/>
            <pc:sldMk cId="2005731187" sldId="407"/>
            <ac:spMk id="2" creationId="{49717C1A-FB87-A288-0936-585479B7E1B5}"/>
          </ac:spMkLst>
        </pc:spChg>
        <pc:spChg chg="add mod">
          <ac:chgData name="Yusuf Satilmis" userId="a3e4faa8-c8db-46ed-9760-fe878fd9015c" providerId="ADAL" clId="{366D7E34-BB26-4FA7-92AD-929706A8538F}" dt="2023-04-21T10:10:44.015" v="1189" actId="108"/>
          <ac:spMkLst>
            <pc:docMk/>
            <pc:sldMk cId="2005731187" sldId="407"/>
            <ac:spMk id="3" creationId="{EE0CC6A3-54A6-4914-8D63-A0EB9AB637BC}"/>
          </ac:spMkLst>
        </pc:spChg>
      </pc:sldChg>
    </pc:docChg>
  </pc:docChgLst>
  <pc:docChgLst>
    <pc:chgData name="Ali Kanji" userId="eb65e205-2bf4-495d-893d-18299fc79ce8" providerId="ADAL" clId="{81F1C3D3-85AD-471A-BE56-BDDF29C159ED}"/>
    <pc:docChg chg="modSld">
      <pc:chgData name="Ali Kanji" userId="eb65e205-2bf4-495d-893d-18299fc79ce8" providerId="ADAL" clId="{81F1C3D3-85AD-471A-BE56-BDDF29C159ED}" dt="2024-02-01T23:09:50.556" v="3" actId="20577"/>
      <pc:docMkLst>
        <pc:docMk/>
      </pc:docMkLst>
      <pc:sldChg chg="modSp mod">
        <pc:chgData name="Ali Kanji" userId="eb65e205-2bf4-495d-893d-18299fc79ce8" providerId="ADAL" clId="{81F1C3D3-85AD-471A-BE56-BDDF29C159ED}" dt="2024-02-01T23:09:50.556" v="3" actId="20577"/>
        <pc:sldMkLst>
          <pc:docMk/>
          <pc:sldMk cId="1737095553" sldId="318"/>
        </pc:sldMkLst>
        <pc:graphicFrameChg chg="modGraphic">
          <ac:chgData name="Ali Kanji" userId="eb65e205-2bf4-495d-893d-18299fc79ce8" providerId="ADAL" clId="{81F1C3D3-85AD-471A-BE56-BDDF29C159ED}" dt="2024-02-01T23:09:50.556" v="3" actId="20577"/>
          <ac:graphicFrameMkLst>
            <pc:docMk/>
            <pc:sldMk cId="1737095553" sldId="318"/>
            <ac:graphicFrameMk id="23" creationId="{6C20BC76-508A-0679-E0A6-59C179AEBF52}"/>
          </ac:graphicFrameMkLst>
        </pc:graphicFrameChg>
      </pc:sldChg>
    </pc:docChg>
  </pc:docChgLst>
  <pc:docChgLst>
    <pc:chgData name="Yusuf Satilmis" userId="a3e4faa8-c8db-46ed-9760-fe878fd9015c" providerId="ADAL" clId="{FD7A7732-6BEE-4405-AF54-5E411222B182}"/>
    <pc:docChg chg="undo custSel addSld modSld">
      <pc:chgData name="Yusuf Satilmis" userId="a3e4faa8-c8db-46ed-9760-fe878fd9015c" providerId="ADAL" clId="{FD7A7732-6BEE-4405-AF54-5E411222B182}" dt="2023-07-26T10:12:38.196" v="74"/>
      <pc:docMkLst>
        <pc:docMk/>
      </pc:docMkLst>
      <pc:sldChg chg="modSp mod">
        <pc:chgData name="Yusuf Satilmis" userId="a3e4faa8-c8db-46ed-9760-fe878fd9015c" providerId="ADAL" clId="{FD7A7732-6BEE-4405-AF54-5E411222B182}" dt="2023-07-26T09:37:36.941" v="14" actId="20577"/>
        <pc:sldMkLst>
          <pc:docMk/>
          <pc:sldMk cId="3270928644" sldId="256"/>
        </pc:sldMkLst>
        <pc:spChg chg="mod">
          <ac:chgData name="Yusuf Satilmis" userId="a3e4faa8-c8db-46ed-9760-fe878fd9015c" providerId="ADAL" clId="{FD7A7732-6BEE-4405-AF54-5E411222B182}" dt="2023-07-26T09:37:36.941" v="14" actId="20577"/>
          <ac:spMkLst>
            <pc:docMk/>
            <pc:sldMk cId="3270928644" sldId="256"/>
            <ac:spMk id="4" creationId="{7B4C1D8E-8767-44D0-909C-BFB5246C3FA7}"/>
          </ac:spMkLst>
        </pc:spChg>
      </pc:sldChg>
      <pc:sldChg chg="addSp modSp mod">
        <pc:chgData name="Yusuf Satilmis" userId="a3e4faa8-c8db-46ed-9760-fe878fd9015c" providerId="ADAL" clId="{FD7A7732-6BEE-4405-AF54-5E411222B182}" dt="2023-07-26T10:08:38.803" v="58" actId="20577"/>
        <pc:sldMkLst>
          <pc:docMk/>
          <pc:sldMk cId="4221281157" sldId="393"/>
        </pc:sldMkLst>
        <pc:spChg chg="mod">
          <ac:chgData name="Yusuf Satilmis" userId="a3e4faa8-c8db-46ed-9760-fe878fd9015c" providerId="ADAL" clId="{FD7A7732-6BEE-4405-AF54-5E411222B182}" dt="2023-07-26T10:08:38.803" v="58" actId="20577"/>
          <ac:spMkLst>
            <pc:docMk/>
            <pc:sldMk cId="4221281157" sldId="393"/>
            <ac:spMk id="4" creationId="{70D9F13C-DB6A-6513-7807-E02D04F8129D}"/>
          </ac:spMkLst>
        </pc:spChg>
        <pc:picChg chg="add mod">
          <ac:chgData name="Yusuf Satilmis" userId="a3e4faa8-c8db-46ed-9760-fe878fd9015c" providerId="ADAL" clId="{FD7A7732-6BEE-4405-AF54-5E411222B182}" dt="2023-07-26T10:08:04.078" v="41" actId="1076"/>
          <ac:picMkLst>
            <pc:docMk/>
            <pc:sldMk cId="4221281157" sldId="393"/>
            <ac:picMk id="2050" creationId="{11A41F9A-2E6E-2548-3FC6-9CF1C71FA55D}"/>
          </ac:picMkLst>
        </pc:picChg>
      </pc:sldChg>
      <pc:sldChg chg="modSp mod">
        <pc:chgData name="Yusuf Satilmis" userId="a3e4faa8-c8db-46ed-9760-fe878fd9015c" providerId="ADAL" clId="{FD7A7732-6BEE-4405-AF54-5E411222B182}" dt="2023-07-24T15:51:25.921" v="1" actId="13926"/>
        <pc:sldMkLst>
          <pc:docMk/>
          <pc:sldMk cId="1509779137" sldId="394"/>
        </pc:sldMkLst>
        <pc:spChg chg="mod">
          <ac:chgData name="Yusuf Satilmis" userId="a3e4faa8-c8db-46ed-9760-fe878fd9015c" providerId="ADAL" clId="{FD7A7732-6BEE-4405-AF54-5E411222B182}" dt="2023-07-24T15:51:22.564" v="0" actId="13926"/>
          <ac:spMkLst>
            <pc:docMk/>
            <pc:sldMk cId="1509779137" sldId="394"/>
            <ac:spMk id="4" creationId="{AC94910F-4474-783F-1631-A860B2B702F4}"/>
          </ac:spMkLst>
        </pc:spChg>
        <pc:spChg chg="mod">
          <ac:chgData name="Yusuf Satilmis" userId="a3e4faa8-c8db-46ed-9760-fe878fd9015c" providerId="ADAL" clId="{FD7A7732-6BEE-4405-AF54-5E411222B182}" dt="2023-07-24T15:51:25.921" v="1" actId="13926"/>
          <ac:spMkLst>
            <pc:docMk/>
            <pc:sldMk cId="1509779137" sldId="394"/>
            <ac:spMk id="7" creationId="{8EF929F6-EB6B-7BA2-D547-3C1B65A03B44}"/>
          </ac:spMkLst>
        </pc:spChg>
      </pc:sldChg>
      <pc:sldChg chg="modAnim">
        <pc:chgData name="Yusuf Satilmis" userId="a3e4faa8-c8db-46ed-9760-fe878fd9015c" providerId="ADAL" clId="{FD7A7732-6BEE-4405-AF54-5E411222B182}" dt="2023-07-26T09:39:00.588" v="15"/>
        <pc:sldMkLst>
          <pc:docMk/>
          <pc:sldMk cId="3773760650" sldId="397"/>
        </pc:sldMkLst>
      </pc:sldChg>
      <pc:sldChg chg="modAnim">
        <pc:chgData name="Yusuf Satilmis" userId="a3e4faa8-c8db-46ed-9760-fe878fd9015c" providerId="ADAL" clId="{FD7A7732-6BEE-4405-AF54-5E411222B182}" dt="2023-07-26T09:39:45.045" v="18"/>
        <pc:sldMkLst>
          <pc:docMk/>
          <pc:sldMk cId="3855116062" sldId="399"/>
        </pc:sldMkLst>
      </pc:sldChg>
      <pc:sldChg chg="modAnim">
        <pc:chgData name="Yusuf Satilmis" userId="a3e4faa8-c8db-46ed-9760-fe878fd9015c" providerId="ADAL" clId="{FD7A7732-6BEE-4405-AF54-5E411222B182}" dt="2023-07-26T10:09:43.270" v="61"/>
        <pc:sldMkLst>
          <pc:docMk/>
          <pc:sldMk cId="3625749153" sldId="400"/>
        </pc:sldMkLst>
      </pc:sldChg>
      <pc:sldChg chg="modSp modAnim">
        <pc:chgData name="Yusuf Satilmis" userId="a3e4faa8-c8db-46ed-9760-fe878fd9015c" providerId="ADAL" clId="{FD7A7732-6BEE-4405-AF54-5E411222B182}" dt="2023-07-26T10:10:39.980" v="66" actId="13926"/>
        <pc:sldMkLst>
          <pc:docMk/>
          <pc:sldMk cId="4254586983" sldId="401"/>
        </pc:sldMkLst>
        <pc:spChg chg="mod">
          <ac:chgData name="Yusuf Satilmis" userId="a3e4faa8-c8db-46ed-9760-fe878fd9015c" providerId="ADAL" clId="{FD7A7732-6BEE-4405-AF54-5E411222B182}" dt="2023-07-26T10:10:39.980" v="66" actId="13926"/>
          <ac:spMkLst>
            <pc:docMk/>
            <pc:sldMk cId="4254586983" sldId="401"/>
            <ac:spMk id="4" creationId="{7BFF057C-0028-EEFC-80EA-26B21B2D55A7}"/>
          </ac:spMkLst>
        </pc:spChg>
      </pc:sldChg>
      <pc:sldChg chg="modSp mod modAnim">
        <pc:chgData name="Yusuf Satilmis" userId="a3e4faa8-c8db-46ed-9760-fe878fd9015c" providerId="ADAL" clId="{FD7A7732-6BEE-4405-AF54-5E411222B182}" dt="2023-07-26T10:12:23.175" v="72"/>
        <pc:sldMkLst>
          <pc:docMk/>
          <pc:sldMk cId="3179181753" sldId="403"/>
        </pc:sldMkLst>
        <pc:spChg chg="mod">
          <ac:chgData name="Yusuf Satilmis" userId="a3e4faa8-c8db-46ed-9760-fe878fd9015c" providerId="ADAL" clId="{FD7A7732-6BEE-4405-AF54-5E411222B182}" dt="2023-07-26T10:12:10.892" v="70" actId="1076"/>
          <ac:spMkLst>
            <pc:docMk/>
            <pc:sldMk cId="3179181753" sldId="403"/>
            <ac:spMk id="4" creationId="{6D78FA41-EEE7-B0FF-0F55-3B7157BF1131}"/>
          </ac:spMkLst>
        </pc:spChg>
      </pc:sldChg>
      <pc:sldChg chg="modAnim">
        <pc:chgData name="Yusuf Satilmis" userId="a3e4faa8-c8db-46ed-9760-fe878fd9015c" providerId="ADAL" clId="{FD7A7732-6BEE-4405-AF54-5E411222B182}" dt="2023-07-26T10:12:38.196" v="74"/>
        <pc:sldMkLst>
          <pc:docMk/>
          <pc:sldMk cId="3800129767" sldId="404"/>
        </pc:sldMkLst>
      </pc:sldChg>
      <pc:sldChg chg="addSp delSp modSp new mod modNotesTx">
        <pc:chgData name="Yusuf Satilmis" userId="a3e4faa8-c8db-46ed-9760-fe878fd9015c" providerId="ADAL" clId="{FD7A7732-6BEE-4405-AF54-5E411222B182}" dt="2023-07-26T09:56:20.981" v="37"/>
        <pc:sldMkLst>
          <pc:docMk/>
          <pc:sldMk cId="1399103438" sldId="408"/>
        </pc:sldMkLst>
        <pc:spChg chg="mod">
          <ac:chgData name="Yusuf Satilmis" userId="a3e4faa8-c8db-46ed-9760-fe878fd9015c" providerId="ADAL" clId="{FD7A7732-6BEE-4405-AF54-5E411222B182}" dt="2023-07-26T09:56:20.981" v="37"/>
          <ac:spMkLst>
            <pc:docMk/>
            <pc:sldMk cId="1399103438" sldId="408"/>
            <ac:spMk id="2" creationId="{46544AFF-0257-FCB6-A17A-77D9F249508F}"/>
          </ac:spMkLst>
        </pc:spChg>
        <pc:spChg chg="add del">
          <ac:chgData name="Yusuf Satilmis" userId="a3e4faa8-c8db-46ed-9760-fe878fd9015c" providerId="ADAL" clId="{FD7A7732-6BEE-4405-AF54-5E411222B182}" dt="2023-07-26T09:41:21.741" v="21" actId="22"/>
          <ac:spMkLst>
            <pc:docMk/>
            <pc:sldMk cId="1399103438" sldId="408"/>
            <ac:spMk id="4" creationId="{EC311907-3AE0-87FE-A915-B32CEC5C4A5E}"/>
          </ac:spMkLst>
        </pc:spChg>
        <pc:spChg chg="add del">
          <ac:chgData name="Yusuf Satilmis" userId="a3e4faa8-c8db-46ed-9760-fe878fd9015c" providerId="ADAL" clId="{FD7A7732-6BEE-4405-AF54-5E411222B182}" dt="2023-07-26T09:41:36.786" v="24"/>
          <ac:spMkLst>
            <pc:docMk/>
            <pc:sldMk cId="1399103438" sldId="408"/>
            <ac:spMk id="5" creationId="{FD5BD292-CCF1-8C7A-7E6B-A4A4C154CCC2}"/>
          </ac:spMkLst>
        </pc:spChg>
        <pc:picChg chg="add mod modCrop">
          <ac:chgData name="Yusuf Satilmis" userId="a3e4faa8-c8db-46ed-9760-fe878fd9015c" providerId="ADAL" clId="{FD7A7732-6BEE-4405-AF54-5E411222B182}" dt="2023-07-26T09:56:02.425" v="36" actId="1076"/>
          <ac:picMkLst>
            <pc:docMk/>
            <pc:sldMk cId="1399103438" sldId="408"/>
            <ac:picMk id="7" creationId="{9BB295C0-6A39-C64E-9B68-9CD6EFF42BF2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FCDD7E-3EF0-3E4F-837C-6E8924370761}" type="doc">
      <dgm:prSet loTypeId="urn:microsoft.com/office/officeart/2005/8/layout/defaul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9CDB32D4-651E-C245-88F3-A3D43DD98F49}">
      <dgm:prSet phldrT="[Text]"/>
      <dgm:spPr/>
      <dgm:t>
        <a:bodyPr/>
        <a:lstStyle/>
        <a:p>
          <a:r>
            <a:rPr lang="en-GB" dirty="0"/>
            <a:t>Pandas is a Python library for working with datasets</a:t>
          </a:r>
        </a:p>
      </dgm:t>
    </dgm:pt>
    <dgm:pt modelId="{D442EB5B-DB01-A746-94A2-9AE2F0E00E7B}" type="parTrans" cxnId="{BC53798D-D919-DA42-A4B9-D8EFD91B9131}">
      <dgm:prSet/>
      <dgm:spPr/>
      <dgm:t>
        <a:bodyPr/>
        <a:lstStyle/>
        <a:p>
          <a:endParaRPr lang="en-GB"/>
        </a:p>
      </dgm:t>
    </dgm:pt>
    <dgm:pt modelId="{13A97E79-F152-3948-878B-5B75ADDF7489}" type="sibTrans" cxnId="{BC53798D-D919-DA42-A4B9-D8EFD91B9131}">
      <dgm:prSet/>
      <dgm:spPr/>
      <dgm:t>
        <a:bodyPr/>
        <a:lstStyle/>
        <a:p>
          <a:endParaRPr lang="en-GB"/>
        </a:p>
      </dgm:t>
    </dgm:pt>
    <dgm:pt modelId="{345C4531-800A-F744-9568-7C388DE047E2}">
      <dgm:prSet/>
      <dgm:spPr/>
      <dgm:t>
        <a:bodyPr/>
        <a:lstStyle/>
        <a:p>
          <a:r>
            <a:rPr lang="en-GB" dirty="0"/>
            <a:t>Easy for handling large amount of data</a:t>
          </a:r>
          <a:endParaRPr lang="en-US" dirty="0"/>
        </a:p>
      </dgm:t>
    </dgm:pt>
    <dgm:pt modelId="{32CB012C-782C-EC46-A4E5-E6B78FBE9880}" type="parTrans" cxnId="{0B324284-79E6-0F46-83F8-59FBB4175D2C}">
      <dgm:prSet/>
      <dgm:spPr/>
      <dgm:t>
        <a:bodyPr/>
        <a:lstStyle/>
        <a:p>
          <a:endParaRPr lang="en-GB"/>
        </a:p>
      </dgm:t>
    </dgm:pt>
    <dgm:pt modelId="{FDB36101-5639-4546-ABF5-D06C8AF636AD}" type="sibTrans" cxnId="{0B324284-79E6-0F46-83F8-59FBB4175D2C}">
      <dgm:prSet/>
      <dgm:spPr/>
      <dgm:t>
        <a:bodyPr/>
        <a:lstStyle/>
        <a:p>
          <a:endParaRPr lang="en-GB"/>
        </a:p>
      </dgm:t>
    </dgm:pt>
    <dgm:pt modelId="{CC29A709-1278-6347-9549-73C8760041FA}">
      <dgm:prSet/>
      <dgm:spPr/>
      <dgm:t>
        <a:bodyPr/>
        <a:lstStyle/>
        <a:p>
          <a:r>
            <a:rPr lang="en-GB" dirty="0"/>
            <a:t>It has functions for analysing, cleaning, exploring, and manipulating data</a:t>
          </a:r>
        </a:p>
      </dgm:t>
    </dgm:pt>
    <dgm:pt modelId="{11150B14-BC9F-844B-9DED-979683EA2051}" type="parTrans" cxnId="{DC580153-E474-F74C-BDBE-AD3282C36FAA}">
      <dgm:prSet/>
      <dgm:spPr/>
      <dgm:t>
        <a:bodyPr/>
        <a:lstStyle/>
        <a:p>
          <a:endParaRPr lang="en-GB"/>
        </a:p>
      </dgm:t>
    </dgm:pt>
    <dgm:pt modelId="{8CCB2284-D304-1945-93C0-817788D7F9ED}" type="sibTrans" cxnId="{DC580153-E474-F74C-BDBE-AD3282C36FAA}">
      <dgm:prSet/>
      <dgm:spPr/>
      <dgm:t>
        <a:bodyPr/>
        <a:lstStyle/>
        <a:p>
          <a:endParaRPr lang="en-GB"/>
        </a:p>
      </dgm:t>
    </dgm:pt>
    <dgm:pt modelId="{FA9A4FF8-3F8D-024C-A57D-F074AE284680}">
      <dgm:prSet custT="1"/>
      <dgm:spPr/>
      <dgm:t>
        <a:bodyPr/>
        <a:lstStyle/>
        <a:p>
          <a:r>
            <a:rPr lang="en-GB" sz="32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Created by software developer Wes McKinney in 2008</a:t>
          </a:r>
        </a:p>
      </dgm:t>
    </dgm:pt>
    <dgm:pt modelId="{41D5A4A1-AFED-9143-B9B4-742E32F4FE2E}" type="parTrans" cxnId="{88F41658-1D16-6040-8021-EC460ED2143A}">
      <dgm:prSet/>
      <dgm:spPr/>
      <dgm:t>
        <a:bodyPr/>
        <a:lstStyle/>
        <a:p>
          <a:endParaRPr lang="en-GB"/>
        </a:p>
      </dgm:t>
    </dgm:pt>
    <dgm:pt modelId="{0724F74F-5CC2-2F4D-8A27-80EE6CD51420}" type="sibTrans" cxnId="{88F41658-1D16-6040-8021-EC460ED2143A}">
      <dgm:prSet/>
      <dgm:spPr/>
      <dgm:t>
        <a:bodyPr/>
        <a:lstStyle/>
        <a:p>
          <a:endParaRPr lang="en-GB"/>
        </a:p>
      </dgm:t>
    </dgm:pt>
    <dgm:pt modelId="{A526AC99-BCA3-7645-BABF-5A9F941307D1}" type="pres">
      <dgm:prSet presAssocID="{64FCDD7E-3EF0-3E4F-837C-6E8924370761}" presName="diagram" presStyleCnt="0">
        <dgm:presLayoutVars>
          <dgm:dir/>
          <dgm:resizeHandles val="exact"/>
        </dgm:presLayoutVars>
      </dgm:prSet>
      <dgm:spPr/>
    </dgm:pt>
    <dgm:pt modelId="{F7C6C21C-FD45-974C-9AD1-42E55ADC4D59}" type="pres">
      <dgm:prSet presAssocID="{9CDB32D4-651E-C245-88F3-A3D43DD98F49}" presName="node" presStyleLbl="node1" presStyleIdx="0" presStyleCnt="4">
        <dgm:presLayoutVars>
          <dgm:bulletEnabled val="1"/>
        </dgm:presLayoutVars>
      </dgm:prSet>
      <dgm:spPr/>
    </dgm:pt>
    <dgm:pt modelId="{1C8F2620-8838-934B-9A8F-9799270D8042}" type="pres">
      <dgm:prSet presAssocID="{13A97E79-F152-3948-878B-5B75ADDF7489}" presName="sibTrans" presStyleCnt="0"/>
      <dgm:spPr/>
    </dgm:pt>
    <dgm:pt modelId="{AB36DBF8-2E38-F94C-A416-1495DCEA1510}" type="pres">
      <dgm:prSet presAssocID="{345C4531-800A-F744-9568-7C388DE047E2}" presName="node" presStyleLbl="node1" presStyleIdx="1" presStyleCnt="4">
        <dgm:presLayoutVars>
          <dgm:bulletEnabled val="1"/>
        </dgm:presLayoutVars>
      </dgm:prSet>
      <dgm:spPr/>
    </dgm:pt>
    <dgm:pt modelId="{78C108B4-81AC-7549-AA44-C46386B3C8A2}" type="pres">
      <dgm:prSet presAssocID="{FDB36101-5639-4546-ABF5-D06C8AF636AD}" presName="sibTrans" presStyleCnt="0"/>
      <dgm:spPr/>
    </dgm:pt>
    <dgm:pt modelId="{A489180B-0BBE-B943-9DF5-103BFF12AC18}" type="pres">
      <dgm:prSet presAssocID="{CC29A709-1278-6347-9549-73C8760041FA}" presName="node" presStyleLbl="node1" presStyleIdx="2" presStyleCnt="4">
        <dgm:presLayoutVars>
          <dgm:bulletEnabled val="1"/>
        </dgm:presLayoutVars>
      </dgm:prSet>
      <dgm:spPr/>
    </dgm:pt>
    <dgm:pt modelId="{677E9476-7A43-7D4D-8F8A-10B623B61632}" type="pres">
      <dgm:prSet presAssocID="{8CCB2284-D304-1945-93C0-817788D7F9ED}" presName="sibTrans" presStyleCnt="0"/>
      <dgm:spPr/>
    </dgm:pt>
    <dgm:pt modelId="{8E3B8DB2-83E5-484A-83B6-D053E38FFA91}" type="pres">
      <dgm:prSet presAssocID="{FA9A4FF8-3F8D-024C-A57D-F074AE284680}" presName="node" presStyleLbl="node1" presStyleIdx="3" presStyleCnt="4">
        <dgm:presLayoutVars>
          <dgm:bulletEnabled val="1"/>
        </dgm:presLayoutVars>
      </dgm:prSet>
      <dgm:spPr/>
    </dgm:pt>
  </dgm:ptLst>
  <dgm:cxnLst>
    <dgm:cxn modelId="{B5207726-D3BF-384C-951F-3FA44900E063}" type="presOf" srcId="{9CDB32D4-651E-C245-88F3-A3D43DD98F49}" destId="{F7C6C21C-FD45-974C-9AD1-42E55ADC4D59}" srcOrd="0" destOrd="0" presId="urn:microsoft.com/office/officeart/2005/8/layout/default"/>
    <dgm:cxn modelId="{764F2E34-7CF4-2F4C-8F28-9A8F3FCF24A9}" type="presOf" srcId="{FA9A4FF8-3F8D-024C-A57D-F074AE284680}" destId="{8E3B8DB2-83E5-484A-83B6-D053E38FFA91}" srcOrd="0" destOrd="0" presId="urn:microsoft.com/office/officeart/2005/8/layout/default"/>
    <dgm:cxn modelId="{2E290635-2F51-3847-9C2C-B73D9D5B1CE4}" type="presOf" srcId="{CC29A709-1278-6347-9549-73C8760041FA}" destId="{A489180B-0BBE-B943-9DF5-103BFF12AC18}" srcOrd="0" destOrd="0" presId="urn:microsoft.com/office/officeart/2005/8/layout/default"/>
    <dgm:cxn modelId="{DC580153-E474-F74C-BDBE-AD3282C36FAA}" srcId="{64FCDD7E-3EF0-3E4F-837C-6E8924370761}" destId="{CC29A709-1278-6347-9549-73C8760041FA}" srcOrd="2" destOrd="0" parTransId="{11150B14-BC9F-844B-9DED-979683EA2051}" sibTransId="{8CCB2284-D304-1945-93C0-817788D7F9ED}"/>
    <dgm:cxn modelId="{88F41658-1D16-6040-8021-EC460ED2143A}" srcId="{64FCDD7E-3EF0-3E4F-837C-6E8924370761}" destId="{FA9A4FF8-3F8D-024C-A57D-F074AE284680}" srcOrd="3" destOrd="0" parTransId="{41D5A4A1-AFED-9143-B9B4-742E32F4FE2E}" sibTransId="{0724F74F-5CC2-2F4D-8A27-80EE6CD51420}"/>
    <dgm:cxn modelId="{3C167283-F0FB-9945-9343-A88622A2A96C}" type="presOf" srcId="{345C4531-800A-F744-9568-7C388DE047E2}" destId="{AB36DBF8-2E38-F94C-A416-1495DCEA1510}" srcOrd="0" destOrd="0" presId="urn:microsoft.com/office/officeart/2005/8/layout/default"/>
    <dgm:cxn modelId="{0B324284-79E6-0F46-83F8-59FBB4175D2C}" srcId="{64FCDD7E-3EF0-3E4F-837C-6E8924370761}" destId="{345C4531-800A-F744-9568-7C388DE047E2}" srcOrd="1" destOrd="0" parTransId="{32CB012C-782C-EC46-A4E5-E6B78FBE9880}" sibTransId="{FDB36101-5639-4546-ABF5-D06C8AF636AD}"/>
    <dgm:cxn modelId="{BC53798D-D919-DA42-A4B9-D8EFD91B9131}" srcId="{64FCDD7E-3EF0-3E4F-837C-6E8924370761}" destId="{9CDB32D4-651E-C245-88F3-A3D43DD98F49}" srcOrd="0" destOrd="0" parTransId="{D442EB5B-DB01-A746-94A2-9AE2F0E00E7B}" sibTransId="{13A97E79-F152-3948-878B-5B75ADDF7489}"/>
    <dgm:cxn modelId="{9D1BF7D6-EE73-E34B-B52D-D6C8EE78E5C9}" type="presOf" srcId="{64FCDD7E-3EF0-3E4F-837C-6E8924370761}" destId="{A526AC99-BCA3-7645-BABF-5A9F941307D1}" srcOrd="0" destOrd="0" presId="urn:microsoft.com/office/officeart/2005/8/layout/default"/>
    <dgm:cxn modelId="{7EEA35E6-F527-FD49-A85A-C1306E824F96}" type="presParOf" srcId="{A526AC99-BCA3-7645-BABF-5A9F941307D1}" destId="{F7C6C21C-FD45-974C-9AD1-42E55ADC4D59}" srcOrd="0" destOrd="0" presId="urn:microsoft.com/office/officeart/2005/8/layout/default"/>
    <dgm:cxn modelId="{CEE225C3-28B1-604A-8BE0-AD7AA26639A3}" type="presParOf" srcId="{A526AC99-BCA3-7645-BABF-5A9F941307D1}" destId="{1C8F2620-8838-934B-9A8F-9799270D8042}" srcOrd="1" destOrd="0" presId="urn:microsoft.com/office/officeart/2005/8/layout/default"/>
    <dgm:cxn modelId="{70D84128-1B99-8D4C-B02D-8F2677A2D129}" type="presParOf" srcId="{A526AC99-BCA3-7645-BABF-5A9F941307D1}" destId="{AB36DBF8-2E38-F94C-A416-1495DCEA1510}" srcOrd="2" destOrd="0" presId="urn:microsoft.com/office/officeart/2005/8/layout/default"/>
    <dgm:cxn modelId="{46A69D28-3B28-DC42-A5A3-D1FCEF7DA362}" type="presParOf" srcId="{A526AC99-BCA3-7645-BABF-5A9F941307D1}" destId="{78C108B4-81AC-7549-AA44-C46386B3C8A2}" srcOrd="3" destOrd="0" presId="urn:microsoft.com/office/officeart/2005/8/layout/default"/>
    <dgm:cxn modelId="{BE0518DE-A427-2F49-8695-856A93A8680E}" type="presParOf" srcId="{A526AC99-BCA3-7645-BABF-5A9F941307D1}" destId="{A489180B-0BBE-B943-9DF5-103BFF12AC18}" srcOrd="4" destOrd="0" presId="urn:microsoft.com/office/officeart/2005/8/layout/default"/>
    <dgm:cxn modelId="{01DEAD6B-43D6-6F4A-8AB7-89D5F72CA256}" type="presParOf" srcId="{A526AC99-BCA3-7645-BABF-5A9F941307D1}" destId="{677E9476-7A43-7D4D-8F8A-10B623B61632}" srcOrd="5" destOrd="0" presId="urn:microsoft.com/office/officeart/2005/8/layout/default"/>
    <dgm:cxn modelId="{70DB837A-F08E-F549-BEBE-BFE5D1FBF114}" type="presParOf" srcId="{A526AC99-BCA3-7645-BABF-5A9F941307D1}" destId="{8E3B8DB2-83E5-484A-83B6-D053E38FFA91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C6C21C-FD45-974C-9AD1-42E55ADC4D59}">
      <dsp:nvSpPr>
        <dsp:cNvPr id="0" name=""/>
        <dsp:cNvSpPr/>
      </dsp:nvSpPr>
      <dsp:spPr>
        <a:xfrm>
          <a:off x="892" y="193259"/>
          <a:ext cx="3482387" cy="2089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Pandas is a Python library for working with datasets</a:t>
          </a:r>
        </a:p>
      </dsp:txBody>
      <dsp:txXfrm>
        <a:off x="892" y="193259"/>
        <a:ext cx="3482387" cy="2089432"/>
      </dsp:txXfrm>
    </dsp:sp>
    <dsp:sp modelId="{AB36DBF8-2E38-F94C-A416-1495DCEA1510}">
      <dsp:nvSpPr>
        <dsp:cNvPr id="0" name=""/>
        <dsp:cNvSpPr/>
      </dsp:nvSpPr>
      <dsp:spPr>
        <a:xfrm>
          <a:off x="3831518" y="193259"/>
          <a:ext cx="3482387" cy="2089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Easy for handling large amount of data</a:t>
          </a:r>
          <a:endParaRPr lang="en-US" sz="3200" kern="1200" dirty="0"/>
        </a:p>
      </dsp:txBody>
      <dsp:txXfrm>
        <a:off x="3831518" y="193259"/>
        <a:ext cx="3482387" cy="2089432"/>
      </dsp:txXfrm>
    </dsp:sp>
    <dsp:sp modelId="{A489180B-0BBE-B943-9DF5-103BFF12AC18}">
      <dsp:nvSpPr>
        <dsp:cNvPr id="0" name=""/>
        <dsp:cNvSpPr/>
      </dsp:nvSpPr>
      <dsp:spPr>
        <a:xfrm>
          <a:off x="892" y="2630930"/>
          <a:ext cx="3482387" cy="2089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It has functions for analysing, cleaning, exploring, and manipulating data</a:t>
          </a:r>
        </a:p>
      </dsp:txBody>
      <dsp:txXfrm>
        <a:off x="892" y="2630930"/>
        <a:ext cx="3482387" cy="2089432"/>
      </dsp:txXfrm>
    </dsp:sp>
    <dsp:sp modelId="{8E3B8DB2-83E5-484A-83B6-D053E38FFA91}">
      <dsp:nvSpPr>
        <dsp:cNvPr id="0" name=""/>
        <dsp:cNvSpPr/>
      </dsp:nvSpPr>
      <dsp:spPr>
        <a:xfrm>
          <a:off x="3831518" y="2630930"/>
          <a:ext cx="3482387" cy="2089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Created by software developer Wes McKinney in 2008</a:t>
          </a:r>
        </a:p>
      </dsp:txBody>
      <dsp:txXfrm>
        <a:off x="3831518" y="2630930"/>
        <a:ext cx="3482387" cy="20894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D00E3E-7D42-4F1C-805D-4B97FCEDE613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9C5856-1607-45A4-BF54-7D3D4497B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583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fficial summary: https://www.python.org/doc/essays/blurb/</a:t>
            </a:r>
          </a:p>
          <a:p>
            <a:r>
              <a:rPr lang="en-GB" dirty="0"/>
              <a:t>Image source: https://www.python.org/static/img/python-logo@2x.p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C5856-1607-45A4-BF54-7D3D4497B296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97964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Other way to select columns: </a:t>
            </a: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frame.Country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57773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8414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8903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1209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8036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84643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6059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NaN floating point that cannot be conver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400" dirty="0">
                <a:latin typeface="Arial" panose="020B0604020202020204" pitchFamily="34" charset="0"/>
                <a:cs typeface="Arial" panose="020B0604020202020204" pitchFamily="34" charset="0"/>
              </a:rPr>
              <a:t>all dataset: </a:t>
            </a:r>
            <a:r>
              <a:rPr lang="en-GB" sz="4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=dataframe.fillna(0)</a:t>
            </a:r>
          </a:p>
          <a:p>
            <a:endParaRPr lang="en-GB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081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NaN floating point that cannot be conver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99824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nswers</a:t>
            </a:r>
          </a:p>
          <a:p>
            <a:endParaRPr lang="en-GB" dirty="0"/>
          </a:p>
          <a:p>
            <a:pPr marL="228600" indent="-228600">
              <a:buAutoNum type="arabicPeriod"/>
            </a:pPr>
            <a:r>
              <a:rPr lang="en-GB" b="1" dirty="0"/>
              <a:t>102</a:t>
            </a:r>
            <a:r>
              <a:rPr lang="en-GB" dirty="0"/>
              <a:t> 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ince the lists have the details of all the products, you can find the number of products sold by calculating the number of elements in the list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umber.size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[For this command, the list has to be converted into an array first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409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total number of items sold for each product will be the sum of the elements in the list ‘number’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umber.sum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 [For this command, the list has to be converted to an array first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139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average price of products will be the mean of the elements in the list ‘price’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price.mean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 [For this command, the list has to be converted to array first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285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maximum value in the list ‘price’ will give you the price of the costliest product. 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max(price) [You can use the command over a list or an array directly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67,100 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The revenue of the company will be the sum of (price * quantity) for each product sold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p.sum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price*number) [For this command, the lists have to be converted to array first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True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is can be checked through the conditional operator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number[19]&gt;number[49] 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52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You can subset the required entries and then take a count of them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price[price &gt;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price.mean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].size 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[For this command, the list has to be converted to an array first]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B29721-EB40-47D7-B3CD-2B5BC76D24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02485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dirty="0"/>
          </a:p>
          <a:p>
            <a:r>
              <a:rPr lang="en-GB" sz="1200" dirty="0"/>
              <a:t>Pandas has 2 data structures: Series and Dataframe</a:t>
            </a:r>
          </a:p>
          <a:p>
            <a:endParaRPr lang="en-GB" sz="1200" dirty="0"/>
          </a:p>
          <a:p>
            <a:r>
              <a:rPr lang="en-GB" sz="1200" dirty="0"/>
              <a:t>Your dataset will be read as a DataFrame which is a 2 dimensional data structure, like a 2 dimensional array, or a table with rows and columns</a:t>
            </a:r>
          </a:p>
          <a:p>
            <a:endParaRPr lang="en-GB" sz="1200" dirty="0"/>
          </a:p>
          <a:p>
            <a:r>
              <a:rPr lang="en-GB" sz="1200" dirty="0"/>
              <a:t>A Pandas Series is like a column in a table. It is a one-dimensional array holding data of any typ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C5856-1607-45A4-BF54-7D3D4497B296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03680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53227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83799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If we want to filter the data by keeping only data in the UK:</a:t>
            </a:r>
            <a:endParaRPr lang="en-GB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frame[dataframe['Country']=="United Kingdom"]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3793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8026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roupby documentation: https://pandas.pydata.org/docs/reference/api/pandas.DataFrame.groupby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01587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47647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02609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9777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893461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2831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 link: https://www.learndatasci.com/tutorials/python-pandas-tutorial-complete-introduction-for-beginners/</a:t>
            </a: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C5856-1607-45A4-BF54-7D3D4497B296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253003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HTTP: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ypertext Transfer Protocol</a:t>
            </a:r>
            <a:endParaRPr lang="en-GB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351887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https://disease.sh/docs/</a:t>
            </a:r>
          </a:p>
          <a:p>
            <a:endParaRPr lang="en-GB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286230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https://disease.sh/docs/</a:t>
            </a:r>
          </a:p>
          <a:p>
            <a:endParaRPr lang="en-GB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987405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nswers</a:t>
            </a:r>
          </a:p>
          <a:p>
            <a:endParaRPr lang="en-GB" dirty="0"/>
          </a:p>
          <a:p>
            <a:pPr marL="228600" indent="-228600">
              <a:buAutoNum type="arabicPeriod"/>
            </a:pPr>
            <a:r>
              <a:rPr lang="en-GB" b="1" dirty="0"/>
              <a:t>102</a:t>
            </a:r>
            <a:r>
              <a:rPr lang="en-GB" dirty="0"/>
              <a:t> 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ince the lists have the details of all the products, you can find the number of products sold by calculating the number of elements in the list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umber.size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[For this command, the list has to be converted into an array first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409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total number of items sold for each product will be the sum of the elements in the list ‘number’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umber.sum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 [For this command, the list has to be converted to an array first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139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average price of products will be the mean of the elements in the list ‘price’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price.mean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 [For this command, the list has to be converted to array first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285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maximum value in the list ‘price’ will give you the price of the costliest product. 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max(price) [You can use the command over a list or an array directly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67,100 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The revenue of the company will be the sum of (price * quantity) for each product sold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p.sum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price*number) [For this command, the lists have to be converted to array first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True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is can be checked through the conditional operator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number[19]&gt;number[49] 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52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You can subset the required entries and then take a count of them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price[price &gt;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price.mean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].size 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[For this command, the list has to be converted to an array first]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B29721-EB40-47D7-B3CD-2B5BC76D24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7762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 link: https://www.geeksforgeeks.org/python-pandas-series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C5856-1607-45A4-BF54-7D3D4497B296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9237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03665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6990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8226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63939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0715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A7B075-0151-4E2F-8EDD-034F7B0C7C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0C21E0-0D6A-4590-8A8C-8A7BC73955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AF48EA-C817-4F4C-8EC0-B4088DF478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D2B9F-CAD1-4EF1-92C9-DF9E608B08F0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140A87-0C9D-47AC-A7AC-CCC87EA54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033827-3682-46F4-97BB-8F7F1A4E1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73704-9545-4EDD-B912-C8D71F70D6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0821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F3565-8249-4DA2-95D0-81643ECD7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2AC49B-9CCC-4980-9268-89AB41D93B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BA1077-D5D5-4155-AFE7-DF0E09783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D2B9F-CAD1-4EF1-92C9-DF9E608B08F0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1FECA2-9F38-46AD-8378-6503EF695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A3FB36-CBD5-4949-AA54-DE9801655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73704-9545-4EDD-B912-C8D71F70D6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22879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F73BBE-3E2C-4526-8C68-5ACFC07A0A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" y="0"/>
            <a:ext cx="12190804" cy="685799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3BFAD70-9553-4ED2-A9FE-9DB649866B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637" y="455720"/>
            <a:ext cx="8075229" cy="1295400"/>
          </a:xfrm>
        </p:spPr>
        <p:txBody>
          <a:bodyPr anchor="ctr" anchorCtr="0"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FFCC5C-1970-B51D-4B43-B7362733CA3A}"/>
              </a:ext>
            </a:extLst>
          </p:cNvPr>
          <p:cNvSpPr/>
          <p:nvPr userDrawn="1"/>
        </p:nvSpPr>
        <p:spPr>
          <a:xfrm>
            <a:off x="269981" y="6042582"/>
            <a:ext cx="5029987" cy="7352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47782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F73BBE-3E2C-4526-8C68-5ACFC07A0A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" y="0"/>
            <a:ext cx="12190806" cy="685799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3BFAD70-9553-4ED2-A9FE-9DB649866B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638" y="455720"/>
            <a:ext cx="5099476" cy="1295400"/>
          </a:xfrm>
        </p:spPr>
        <p:txBody>
          <a:bodyPr anchor="ctr" anchorCtr="0"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</p:spTree>
    <p:extLst>
      <p:ext uri="{BB962C8B-B14F-4D97-AF65-F5344CB8AC3E}">
        <p14:creationId xmlns:p14="http://schemas.microsoft.com/office/powerpoint/2010/main" val="4292367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F73BBE-3E2C-4526-8C68-5ACFC07A0A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6" y="0"/>
            <a:ext cx="12190804" cy="685799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3BFAD70-9553-4ED2-A9FE-9DB649866B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638" y="455720"/>
            <a:ext cx="5099476" cy="1295400"/>
          </a:xfrm>
        </p:spPr>
        <p:txBody>
          <a:bodyPr anchor="ctr" anchorCtr="0"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</p:spTree>
    <p:extLst>
      <p:ext uri="{BB962C8B-B14F-4D97-AF65-F5344CB8AC3E}">
        <p14:creationId xmlns:p14="http://schemas.microsoft.com/office/powerpoint/2010/main" val="37948842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F73BBE-3E2C-4526-8C68-5ACFC07A0A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" y="0"/>
            <a:ext cx="12190806" cy="685799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0D8F466-3F4F-42A3-96BE-369B7CDF54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637" y="455720"/>
            <a:ext cx="7052563" cy="1295400"/>
          </a:xfrm>
        </p:spPr>
        <p:txBody>
          <a:bodyPr anchor="ctr" anchorCtr="0"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</p:spTree>
    <p:extLst>
      <p:ext uri="{BB962C8B-B14F-4D97-AF65-F5344CB8AC3E}">
        <p14:creationId xmlns:p14="http://schemas.microsoft.com/office/powerpoint/2010/main" val="218775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95E8DB2-CA03-C9A9-8C54-0FD19CA454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5" y="0"/>
            <a:ext cx="12190806" cy="685799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3565BFD-9175-4207-BB41-12115C32A5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7145" y="337348"/>
            <a:ext cx="5616608" cy="1043287"/>
          </a:xfrm>
        </p:spPr>
        <p:txBody>
          <a:bodyPr anchor="ctr" anchorCtr="0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</p:spTree>
    <p:extLst>
      <p:ext uri="{BB962C8B-B14F-4D97-AF65-F5344CB8AC3E}">
        <p14:creationId xmlns:p14="http://schemas.microsoft.com/office/powerpoint/2010/main" val="1897907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6249FD1-F495-4A72-AAA6-8ACE198EC1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3" y="0"/>
            <a:ext cx="12190813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6500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6116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94E-F4FB-4FAE-94C5-A91E52E11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8C6B69-E7EF-45D7-B6A4-4290C68C37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85887-B546-466C-AADE-82A60E1135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7D2B9F-CAD1-4EF1-92C9-DF9E608B08F0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233E8A-F32C-4A9D-AD4B-40E77EEF2A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372F94-0561-4A6A-90D1-7EC25B50D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C73704-9545-4EDD-B912-C8D71F70D6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369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8" r:id="rId3"/>
    <p:sldLayoutId id="2147483671" r:id="rId4"/>
    <p:sldLayoutId id="2147483672" r:id="rId5"/>
    <p:sldLayoutId id="2147483669" r:id="rId6"/>
    <p:sldLayoutId id="2147483652" r:id="rId7"/>
    <p:sldLayoutId id="2147483673" r:id="rId8"/>
    <p:sldLayoutId id="2147483674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13" Type="http://schemas.openxmlformats.org/officeDocument/2006/relationships/image" Target="../media/image4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4.emf"/><Relationship Id="rId12" Type="http://schemas.openxmlformats.org/officeDocument/2006/relationships/image" Target="../media/image39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png"/><Relationship Id="rId11" Type="http://schemas.openxmlformats.org/officeDocument/2006/relationships/image" Target="../media/image38.emf"/><Relationship Id="rId5" Type="http://schemas.openxmlformats.org/officeDocument/2006/relationships/image" Target="../media/image33.emf"/><Relationship Id="rId10" Type="http://schemas.openxmlformats.org/officeDocument/2006/relationships/image" Target="../media/image37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6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emf"/><Relationship Id="rId4" Type="http://schemas.openxmlformats.org/officeDocument/2006/relationships/image" Target="../media/image4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emf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4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5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png"/><Relationship Id="rId11" Type="http://schemas.openxmlformats.org/officeDocument/2006/relationships/image" Target="../media/image54.png"/><Relationship Id="rId5" Type="http://schemas.openxmlformats.org/officeDocument/2006/relationships/image" Target="../media/image48.emf"/><Relationship Id="rId10" Type="http://schemas.openxmlformats.org/officeDocument/2006/relationships/image" Target="../media/image53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52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58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emf"/><Relationship Id="rId5" Type="http://schemas.openxmlformats.org/officeDocument/2006/relationships/image" Target="../media/image56.emf"/><Relationship Id="rId4" Type="http://schemas.openxmlformats.org/officeDocument/2006/relationships/image" Target="../media/image55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59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emf"/><Relationship Id="rId5" Type="http://schemas.openxmlformats.org/officeDocument/2006/relationships/image" Target="../media/image56.emf"/><Relationship Id="rId4" Type="http://schemas.openxmlformats.org/officeDocument/2006/relationships/image" Target="../media/image55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22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emf"/><Relationship Id="rId9" Type="http://schemas.openxmlformats.org/officeDocument/2006/relationships/image" Target="../media/image65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png"/><Relationship Id="rId4" Type="http://schemas.openxmlformats.org/officeDocument/2006/relationships/image" Target="../media/image60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hyperlink" Target="http://api.open-notify.org/astros.json" TargetMode="External"/><Relationship Id="rId4" Type="http://schemas.openxmlformats.org/officeDocument/2006/relationships/image" Target="../media/image7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7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5" Type="http://schemas.openxmlformats.org/officeDocument/2006/relationships/hyperlink" Target="https://disease.sh/docs/" TargetMode="External"/><Relationship Id="rId4" Type="http://schemas.openxmlformats.org/officeDocument/2006/relationships/image" Target="../media/image7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22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colab.research.google.com/drive/1ZcD1RbeZd16-q5DXhSsDZlREiA8TXzsW?usp=sharing" TargetMode="Externa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kaggle.com/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hyperlink" Target="https://www.youtube.com/watch?v=pqMu18dmEdM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geeksforgeeks.org/python-pandas-serie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4C1D8E-8767-44D0-909C-BFB5246C3FA7}"/>
              </a:ext>
            </a:extLst>
          </p:cNvPr>
          <p:cNvSpPr txBox="1">
            <a:spLocks/>
          </p:cNvSpPr>
          <p:nvPr/>
        </p:nvSpPr>
        <p:spPr>
          <a:xfrm>
            <a:off x="269984" y="2243825"/>
            <a:ext cx="5706611" cy="15407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en-GB" sz="3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ta Analysis with Python Part 1</a:t>
            </a:r>
            <a:endParaRPr lang="en-US" sz="3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EFEAF82-848A-47FB-811B-9F1AAF85ADB5}"/>
              </a:ext>
            </a:extLst>
          </p:cNvPr>
          <p:cNvSpPr txBox="1">
            <a:spLocks/>
          </p:cNvSpPr>
          <p:nvPr/>
        </p:nvSpPr>
        <p:spPr>
          <a:xfrm>
            <a:off x="269984" y="302877"/>
            <a:ext cx="8075229" cy="6306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 sz="3600" dirty="0"/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CD7351FE-90AC-2DEF-6E62-5D20842A8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7" y="6025314"/>
            <a:ext cx="2092699" cy="78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286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F96EC-4C08-D9B1-6931-7C648FD94A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Jupyter notebook Scri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0B742D-FB37-0F3A-6348-BD6A27F07167}"/>
              </a:ext>
            </a:extLst>
          </p:cNvPr>
          <p:cNvSpPr txBox="1"/>
          <p:nvPr/>
        </p:nvSpPr>
        <p:spPr>
          <a:xfrm>
            <a:off x="796833" y="2286000"/>
            <a:ext cx="6766561" cy="1466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400" dirty="0"/>
              <a:t>Follow along with your Instructor using the Jupyter notebook script named </a:t>
            </a:r>
            <a:r>
              <a:rPr lang="en-GB" sz="2400" b="1" dirty="0"/>
              <a:t>pandas-script_part1.ipynb</a:t>
            </a:r>
          </a:p>
        </p:txBody>
      </p:sp>
      <p:pic>
        <p:nvPicPr>
          <p:cNvPr id="5" name="Picture 4" descr="A logo with orange and grey circles&#10;&#10;Description automatically generated">
            <a:extLst>
              <a:ext uri="{FF2B5EF4-FFF2-40B4-BE49-F238E27FC236}">
                <a16:creationId xmlns:a16="http://schemas.microsoft.com/office/drawing/2014/main" id="{E5466F5D-BD38-B9F1-8546-33CA784DD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296" y="1765009"/>
            <a:ext cx="2164624" cy="250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549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2EB029-2167-BB00-D18E-1233F93681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eries cre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85E040-C78B-65B0-68C1-B4891AA26128}"/>
              </a:ext>
            </a:extLst>
          </p:cNvPr>
          <p:cNvSpPr txBox="1"/>
          <p:nvPr/>
        </p:nvSpPr>
        <p:spPr>
          <a:xfrm>
            <a:off x="1385977" y="1712224"/>
            <a:ext cx="18742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From a list [ ]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AC3E35-0BCA-F3F6-916D-B7B21972EE18}"/>
              </a:ext>
            </a:extLst>
          </p:cNvPr>
          <p:cNvSpPr txBox="1"/>
          <p:nvPr/>
        </p:nvSpPr>
        <p:spPr>
          <a:xfrm>
            <a:off x="6975165" y="2179523"/>
            <a:ext cx="4854741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1-Create a dictionary:</a:t>
            </a:r>
            <a:endParaRPr lang="en-GB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c_pop= {'United Kingdom':68521968, 	'France':65273511, 'Mexico':128932753, 	'Canada':37742154}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2-Pass the dictionary in the pandas series function:</a:t>
            </a:r>
            <a:endParaRPr lang="en-GB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Series (dic_pop)</a:t>
            </a:r>
          </a:p>
        </p:txBody>
      </p:sp>
      <p:sp>
        <p:nvSpPr>
          <p:cNvPr id="5" name="Down Arrow 4">
            <a:extLst>
              <a:ext uri="{FF2B5EF4-FFF2-40B4-BE49-F238E27FC236}">
                <a16:creationId xmlns:a16="http://schemas.microsoft.com/office/drawing/2014/main" id="{DAA59F05-EE07-C0E3-9AAD-A08D21D343CD}"/>
              </a:ext>
            </a:extLst>
          </p:cNvPr>
          <p:cNvSpPr/>
          <p:nvPr/>
        </p:nvSpPr>
        <p:spPr>
          <a:xfrm>
            <a:off x="3732858" y="4416989"/>
            <a:ext cx="216131" cy="28263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6C3191-2B64-B915-B6D4-0539A76947DC}"/>
              </a:ext>
            </a:extLst>
          </p:cNvPr>
          <p:cNvSpPr txBox="1"/>
          <p:nvPr/>
        </p:nvSpPr>
        <p:spPr>
          <a:xfrm>
            <a:off x="3948989" y="4405384"/>
            <a:ext cx="665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D6FE91-E472-6CD9-6865-95DB0617DD46}"/>
              </a:ext>
            </a:extLst>
          </p:cNvPr>
          <p:cNvSpPr txBox="1"/>
          <p:nvPr/>
        </p:nvSpPr>
        <p:spPr>
          <a:xfrm>
            <a:off x="6975165" y="1666749"/>
            <a:ext cx="27590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From a dictionary { }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256D4-070C-1BCD-2284-BD3615D86B8D}"/>
              </a:ext>
            </a:extLst>
          </p:cNvPr>
          <p:cNvSpPr txBox="1"/>
          <p:nvPr/>
        </p:nvSpPr>
        <p:spPr>
          <a:xfrm>
            <a:off x="1284280" y="2207058"/>
            <a:ext cx="4913287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1-Create a list:</a:t>
            </a:r>
          </a:p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_countries= ['United Kingdom', 'France', 'Mexico', 'Canada’]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2-Pass the list in the pandas series function:</a:t>
            </a:r>
          </a:p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Series (data=list_countrie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2B7C32-8324-E393-E0CE-C51F21AC83CC}"/>
              </a:ext>
            </a:extLst>
          </p:cNvPr>
          <p:cNvSpPr txBox="1"/>
          <p:nvPr/>
        </p:nvSpPr>
        <p:spPr>
          <a:xfrm>
            <a:off x="10054398" y="4695695"/>
            <a:ext cx="665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9D1DFB72-4462-A094-C3DB-8EAF4B123B52}"/>
              </a:ext>
            </a:extLst>
          </p:cNvPr>
          <p:cNvSpPr/>
          <p:nvPr/>
        </p:nvSpPr>
        <p:spPr>
          <a:xfrm>
            <a:off x="9726237" y="4753967"/>
            <a:ext cx="216131" cy="282633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C06D16-4774-0B7A-D88F-6F6DC554EB45}"/>
              </a:ext>
            </a:extLst>
          </p:cNvPr>
          <p:cNvCxnSpPr/>
          <p:nvPr/>
        </p:nvCxnSpPr>
        <p:spPr>
          <a:xfrm>
            <a:off x="6197567" y="1717858"/>
            <a:ext cx="0" cy="4340992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7AF7C86-EDBE-85F4-8E0B-865A2C284A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084"/>
          <a:stretch/>
        </p:blipFill>
        <p:spPr>
          <a:xfrm>
            <a:off x="2693770" y="4933234"/>
            <a:ext cx="2033989" cy="152723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D2F0314-4148-9E15-D101-65978E58A8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772" t="21212"/>
          <a:stretch/>
        </p:blipFill>
        <p:spPr>
          <a:xfrm>
            <a:off x="8113437" y="5122761"/>
            <a:ext cx="3225599" cy="1527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9844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1773405" y="237668"/>
            <a:ext cx="8463616" cy="802431"/>
            <a:chOff x="1647280" y="197840"/>
            <a:chExt cx="8463616" cy="80243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1647280" y="1000271"/>
              <a:ext cx="8003689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1756662" y="197840"/>
              <a:ext cx="835423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Creating a pandas dataframe </a:t>
              </a:r>
            </a:p>
          </p:txBody>
        </p:sp>
      </p:grpSp>
      <p:sp>
        <p:nvSpPr>
          <p:cNvPr id="11" name="Down Arrow 10">
            <a:extLst>
              <a:ext uri="{FF2B5EF4-FFF2-40B4-BE49-F238E27FC236}">
                <a16:creationId xmlns:a16="http://schemas.microsoft.com/office/drawing/2014/main" id="{2120F59D-53E1-000C-CAFE-6866A8CCB494}"/>
              </a:ext>
            </a:extLst>
          </p:cNvPr>
          <p:cNvSpPr/>
          <p:nvPr/>
        </p:nvSpPr>
        <p:spPr>
          <a:xfrm>
            <a:off x="3668344" y="4589734"/>
            <a:ext cx="280219" cy="277761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C723FB-FAB4-FD3E-B78A-745B08EBEB8D}"/>
              </a:ext>
            </a:extLst>
          </p:cNvPr>
          <p:cNvSpPr txBox="1"/>
          <p:nvPr/>
        </p:nvSpPr>
        <p:spPr>
          <a:xfrm>
            <a:off x="3905070" y="4473526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84B180C-0994-F4B0-3786-5BA9A9E8B4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51" y="1813763"/>
            <a:ext cx="6534187" cy="10726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24D96CE-3C5B-3724-E2F2-CF9C2515688C}"/>
              </a:ext>
            </a:extLst>
          </p:cNvPr>
          <p:cNvSpPr txBox="1"/>
          <p:nvPr/>
        </p:nvSpPr>
        <p:spPr>
          <a:xfrm>
            <a:off x="5534836" y="4842858"/>
            <a:ext cx="4702185" cy="1703030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500">
                <a:solidFill>
                  <a:srgbClr val="000000"/>
                </a:solidFill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eters: </a:t>
            </a:r>
            <a:r>
              <a:rPr lang="en-GB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d in functions/methods (data, index, columns etc. )</a:t>
            </a:r>
          </a:p>
          <a:p>
            <a:pPr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ibutes: </a:t>
            </a:r>
            <a:r>
              <a:rPr lang="en-GB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ves information about the data</a:t>
            </a:r>
          </a:p>
          <a:p>
            <a:pPr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: </a:t>
            </a:r>
            <a:r>
              <a:rPr lang="en-GB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s that transform the data</a:t>
            </a:r>
          </a:p>
        </p:txBody>
      </p:sp>
      <p:pic>
        <p:nvPicPr>
          <p:cNvPr id="3" name="Picture 2" descr="A picture containing calendar&#10;&#10;Description automatically generated">
            <a:extLst>
              <a:ext uri="{FF2B5EF4-FFF2-40B4-BE49-F238E27FC236}">
                <a16:creationId xmlns:a16="http://schemas.microsoft.com/office/drawing/2014/main" id="{98F21413-2A73-280F-5002-58B47303E4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8343" y="5021888"/>
            <a:ext cx="2578100" cy="1524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 descr="Graphical user interface, text, application&#10;&#10;Description automatically generated with medium confidence">
            <a:extLst>
              <a:ext uri="{FF2B5EF4-FFF2-40B4-BE49-F238E27FC236}">
                <a16:creationId xmlns:a16="http://schemas.microsoft.com/office/drawing/2014/main" id="{F3A91700-2690-88C9-52E0-5B7E393DAE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50" y="2997747"/>
            <a:ext cx="8113486" cy="132693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264191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580568" y="501457"/>
            <a:ext cx="8972335" cy="805697"/>
            <a:chOff x="2454443" y="461629"/>
            <a:chExt cx="8972335" cy="805697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271961" y="461629"/>
              <a:ext cx="8154817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37256EF-5996-257F-33E7-872A6E3A7966}"/>
              </a:ext>
            </a:extLst>
          </p:cNvPr>
          <p:cNvSpPr txBox="1"/>
          <p:nvPr/>
        </p:nvSpPr>
        <p:spPr>
          <a:xfrm>
            <a:off x="1930625" y="1997839"/>
            <a:ext cx="735624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1-Upload the dataset </a:t>
            </a:r>
            <a:r>
              <a:rPr lang="en-GB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datacensus.csv</a:t>
            </a:r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n Google Colab </a:t>
            </a:r>
          </a:p>
          <a:p>
            <a:endParaRPr lang="en-GB" sz="2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2- Create a new variable to store your dataframe and pass the variable that contains your file path in the  following command:</a:t>
            </a:r>
            <a:endParaRPr lang="en-GB" sz="2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= pd.read_csv (‘</a:t>
            </a:r>
            <a:r>
              <a:rPr lang="en-GB" sz="20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census.csv</a:t>
            </a:r>
            <a:r>
              <a:rPr lang="en-GB" sz="2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)</a:t>
            </a:r>
          </a:p>
          <a:p>
            <a:endParaRPr lang="en-GB" sz="2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3-Call the variable name to display the dataset:</a:t>
            </a:r>
          </a:p>
          <a:p>
            <a:r>
              <a:rPr lang="en-GB" sz="2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4C1264-4535-C904-7042-2476705CAC16}"/>
              </a:ext>
            </a:extLst>
          </p:cNvPr>
          <p:cNvSpPr txBox="1"/>
          <p:nvPr/>
        </p:nvSpPr>
        <p:spPr>
          <a:xfrm>
            <a:off x="3398086" y="5043014"/>
            <a:ext cx="4759421" cy="1015663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</a:lvl1pPr>
          </a:lstStyle>
          <a:p>
            <a:pPr>
              <a:lnSpc>
                <a:spcPct val="100000"/>
              </a:lnSpc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mmands to read a CSV or Excel file:</a:t>
            </a:r>
          </a:p>
          <a:p>
            <a:pPr>
              <a:lnSpc>
                <a:spcPct val="100000"/>
              </a:lnSpc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read_csv()</a:t>
            </a:r>
          </a:p>
          <a:p>
            <a:pPr>
              <a:lnSpc>
                <a:spcPct val="100000"/>
              </a:lnSpc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read_excel()</a:t>
            </a:r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2B865639-9E46-3EAD-0797-F428EC07C3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1208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580568" y="486780"/>
            <a:ext cx="8402179" cy="820374"/>
            <a:chOff x="2454443" y="446952"/>
            <a:chExt cx="8402179" cy="82037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701805" y="446952"/>
              <a:ext cx="8154817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 (cont.)</a:t>
              </a:r>
            </a:p>
          </p:txBody>
        </p:sp>
      </p:grp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2B865639-9E46-3EAD-0797-F428EC07C3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535A8D5E-BAE8-3C9E-4A39-83FF4E9A27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078" y="4249393"/>
            <a:ext cx="3745805" cy="2263326"/>
          </a:xfrm>
          <a:prstGeom prst="rect">
            <a:avLst/>
          </a:prstGeom>
        </p:spPr>
      </p:pic>
      <p:sp>
        <p:nvSpPr>
          <p:cNvPr id="19" name="Down Arrow 18">
            <a:extLst>
              <a:ext uri="{FF2B5EF4-FFF2-40B4-BE49-F238E27FC236}">
                <a16:creationId xmlns:a16="http://schemas.microsoft.com/office/drawing/2014/main" id="{AD2CFD26-15C1-2079-00A9-8BEA0171B4FA}"/>
              </a:ext>
            </a:extLst>
          </p:cNvPr>
          <p:cNvSpPr/>
          <p:nvPr/>
        </p:nvSpPr>
        <p:spPr>
          <a:xfrm>
            <a:off x="5122981" y="3723623"/>
            <a:ext cx="290456" cy="33348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38E248AD-FDFA-AE51-30E2-D0CC703124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499" y="2012116"/>
            <a:ext cx="7019165" cy="14168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85437E2-9E55-A0E7-6F9B-5B9184214868}"/>
              </a:ext>
            </a:extLst>
          </p:cNvPr>
          <p:cNvSpPr txBox="1"/>
          <p:nvPr/>
        </p:nvSpPr>
        <p:spPr>
          <a:xfrm>
            <a:off x="5435518" y="3654530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E456B90-7BCA-5FA4-660F-55B959A5969B}"/>
              </a:ext>
            </a:extLst>
          </p:cNvPr>
          <p:cNvSpPr/>
          <p:nvPr/>
        </p:nvSpPr>
        <p:spPr>
          <a:xfrm>
            <a:off x="5650787" y="6109159"/>
            <a:ext cx="1345096" cy="360000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0682A22-3832-0D8B-86F5-CCED290A5E32}"/>
              </a:ext>
            </a:extLst>
          </p:cNvPr>
          <p:cNvSpPr txBox="1"/>
          <p:nvPr/>
        </p:nvSpPr>
        <p:spPr>
          <a:xfrm>
            <a:off x="7697464" y="6032116"/>
            <a:ext cx="16466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issing value: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Not A Number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81D9DA8-C506-C049-8368-265804E9B3C7}"/>
              </a:ext>
            </a:extLst>
          </p:cNvPr>
          <p:cNvCxnSpPr>
            <a:cxnSpLocks/>
          </p:cNvCxnSpPr>
          <p:nvPr/>
        </p:nvCxnSpPr>
        <p:spPr>
          <a:xfrm flipH="1">
            <a:off x="7123516" y="6297451"/>
            <a:ext cx="492155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4487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F047E1-EC5D-1D99-3C5E-C8203D39CB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F047E1-EC5D-1D99-3C5E-C8203D39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8D7B718-CD9C-A881-59AF-2775F71092A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7463"/>
          <a:stretch/>
        </p:blipFill>
        <p:spPr>
          <a:xfrm>
            <a:off x="3539480" y="4113726"/>
            <a:ext cx="3384284" cy="168706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580568" y="462630"/>
            <a:ext cx="7618894" cy="844524"/>
            <a:chOff x="2454443" y="422802"/>
            <a:chExt cx="7618894" cy="84452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271484" y="422802"/>
              <a:ext cx="680185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000" dirty="0">
                  <a:latin typeface="Arial" panose="020B0604020202020204" pitchFamily="34" charset="0"/>
                  <a:cs typeface="Arial" panose="020B0604020202020204" pitchFamily="34" charset="0"/>
                </a:rPr>
                <a:t>Data explorat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FD8DB6D-FA1E-8426-CFE4-ECB2E3459CBB}"/>
              </a:ext>
            </a:extLst>
          </p:cNvPr>
          <p:cNvGrpSpPr/>
          <p:nvPr/>
        </p:nvGrpSpPr>
        <p:grpSpPr>
          <a:xfrm>
            <a:off x="3029770" y="2584779"/>
            <a:ext cx="477519" cy="721442"/>
            <a:chOff x="3187084" y="2895500"/>
            <a:chExt cx="477519" cy="72144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6FE4E-A27F-5C08-B8A1-BA84B7E635FF}"/>
                </a:ext>
              </a:extLst>
            </p:cNvPr>
            <p:cNvCxnSpPr>
              <a:cxnSpLocks/>
            </p:cNvCxnSpPr>
            <p:nvPr/>
          </p:nvCxnSpPr>
          <p:spPr>
            <a:xfrm>
              <a:off x="3187084" y="3230239"/>
              <a:ext cx="477519" cy="0"/>
            </a:xfrm>
            <a:prstGeom prst="line">
              <a:avLst/>
            </a:prstGeom>
            <a:ln w="38100">
              <a:solidFill>
                <a:srgbClr val="EB51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735DC60-8A73-CA13-8F3E-C30A14878691}"/>
                </a:ext>
              </a:extLst>
            </p:cNvPr>
            <p:cNvCxnSpPr>
              <a:cxnSpLocks/>
            </p:cNvCxnSpPr>
            <p:nvPr/>
          </p:nvCxnSpPr>
          <p:spPr>
            <a:xfrm>
              <a:off x="3187084" y="2895500"/>
              <a:ext cx="0" cy="721442"/>
            </a:xfrm>
            <a:prstGeom prst="line">
              <a:avLst/>
            </a:prstGeom>
            <a:ln w="38100">
              <a:solidFill>
                <a:srgbClr val="EB51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5C09863D-A93B-9F52-7AE9-6F29FD175E58}"/>
              </a:ext>
            </a:extLst>
          </p:cNvPr>
          <p:cNvSpPr txBox="1"/>
          <p:nvPr/>
        </p:nvSpPr>
        <p:spPr>
          <a:xfrm>
            <a:off x="921921" y="2457852"/>
            <a:ext cx="25311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xplore the 5 first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ows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head(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D693E5C-2057-8AD4-9769-35EB8BE93E41}"/>
              </a:ext>
            </a:extLst>
          </p:cNvPr>
          <p:cNvSpPr/>
          <p:nvPr/>
        </p:nvSpPr>
        <p:spPr>
          <a:xfrm>
            <a:off x="3578328" y="4123999"/>
            <a:ext cx="3345436" cy="1629101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68C34A-02F3-5E09-57E6-6F0181A702C0}"/>
              </a:ext>
            </a:extLst>
          </p:cNvPr>
          <p:cNvSpPr txBox="1"/>
          <p:nvPr/>
        </p:nvSpPr>
        <p:spPr>
          <a:xfrm>
            <a:off x="921921" y="4447242"/>
            <a:ext cx="25311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xplore the 5 last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ows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tail()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63F067-EBDC-9374-B03E-6AE2D077F8B7}"/>
              </a:ext>
            </a:extLst>
          </p:cNvPr>
          <p:cNvGrpSpPr/>
          <p:nvPr/>
        </p:nvGrpSpPr>
        <p:grpSpPr>
          <a:xfrm>
            <a:off x="3085666" y="4577828"/>
            <a:ext cx="477519" cy="721442"/>
            <a:chOff x="3187084" y="2895500"/>
            <a:chExt cx="477519" cy="721442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88F9390-EE0D-F098-031B-CBF1A3743C4D}"/>
                </a:ext>
              </a:extLst>
            </p:cNvPr>
            <p:cNvCxnSpPr>
              <a:cxnSpLocks/>
            </p:cNvCxnSpPr>
            <p:nvPr/>
          </p:nvCxnSpPr>
          <p:spPr>
            <a:xfrm>
              <a:off x="3187084" y="3230239"/>
              <a:ext cx="477519" cy="0"/>
            </a:xfrm>
            <a:prstGeom prst="line">
              <a:avLst/>
            </a:prstGeom>
            <a:ln w="38100">
              <a:solidFill>
                <a:srgbClr val="EB51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A693896-2EA9-5096-4E5A-C0BD6E515718}"/>
                </a:ext>
              </a:extLst>
            </p:cNvPr>
            <p:cNvCxnSpPr>
              <a:cxnSpLocks/>
            </p:cNvCxnSpPr>
            <p:nvPr/>
          </p:nvCxnSpPr>
          <p:spPr>
            <a:xfrm>
              <a:off x="3187084" y="2895500"/>
              <a:ext cx="0" cy="721442"/>
            </a:xfrm>
            <a:prstGeom prst="line">
              <a:avLst/>
            </a:prstGeom>
            <a:ln w="38100">
              <a:solidFill>
                <a:srgbClr val="EB51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91D40C4F-B67C-7C16-29C9-9525ECD68ABC}"/>
              </a:ext>
            </a:extLst>
          </p:cNvPr>
          <p:cNvSpPr txBox="1"/>
          <p:nvPr/>
        </p:nvSpPr>
        <p:spPr>
          <a:xfrm>
            <a:off x="7463785" y="2144695"/>
            <a:ext cx="2762295" cy="1200329"/>
          </a:xfrm>
          <a:prstGeom prst="rect">
            <a:avLst/>
          </a:prstGeom>
          <a:noFill/>
          <a:ln>
            <a:solidFill>
              <a:srgbClr val="EB51C9"/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attribut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hap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give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total numbers of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ows and columns: 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shape</a:t>
            </a:r>
          </a:p>
        </p:txBody>
      </p:sp>
      <p:sp>
        <p:nvSpPr>
          <p:cNvPr id="30" name="Down Arrow 29">
            <a:extLst>
              <a:ext uri="{FF2B5EF4-FFF2-40B4-BE49-F238E27FC236}">
                <a16:creationId xmlns:a16="http://schemas.microsoft.com/office/drawing/2014/main" id="{D9D48BF7-3DB3-2477-FC5A-1E9DF70C56E4}"/>
              </a:ext>
            </a:extLst>
          </p:cNvPr>
          <p:cNvSpPr/>
          <p:nvPr/>
        </p:nvSpPr>
        <p:spPr>
          <a:xfrm>
            <a:off x="8426420" y="3461511"/>
            <a:ext cx="242887" cy="375392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674979-B712-5C97-EF8C-14958FFA843C}"/>
              </a:ext>
            </a:extLst>
          </p:cNvPr>
          <p:cNvSpPr txBox="1"/>
          <p:nvPr/>
        </p:nvSpPr>
        <p:spPr>
          <a:xfrm>
            <a:off x="8740051" y="3461511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FBFECF-3EAF-34F6-EF9B-164B9319ED95}"/>
              </a:ext>
            </a:extLst>
          </p:cNvPr>
          <p:cNvSpPr txBox="1"/>
          <p:nvPr/>
        </p:nvSpPr>
        <p:spPr>
          <a:xfrm>
            <a:off x="8154165" y="3903870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(27, 2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9B707A1-4967-CDA7-9D94-E667013441DB}"/>
              </a:ext>
            </a:extLst>
          </p:cNvPr>
          <p:cNvSpPr txBox="1"/>
          <p:nvPr/>
        </p:nvSpPr>
        <p:spPr>
          <a:xfrm>
            <a:off x="7583827" y="5352312"/>
            <a:ext cx="2168158" cy="1200329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b="1"/>
            </a:lvl1pPr>
          </a:lstStyle>
          <a:p>
            <a:pPr>
              <a:lnSpc>
                <a:spcPct val="100000"/>
              </a:lnSpc>
            </a:pPr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Try:</a:t>
            </a:r>
          </a:p>
          <a:p>
            <a:pPr>
              <a:lnSpc>
                <a:spcPct val="100000"/>
              </a:lnSpc>
            </a:pPr>
            <a:r>
              <a:rPr lang="en-GB" b="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head (10)</a:t>
            </a:r>
          </a:p>
          <a:p>
            <a:pPr>
              <a:lnSpc>
                <a:spcPct val="100000"/>
              </a:lnSpc>
            </a:pPr>
            <a:r>
              <a:rPr lang="en-GB" b="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tail (22)</a:t>
            </a:r>
          </a:p>
        </p:txBody>
      </p:sp>
      <p:pic>
        <p:nvPicPr>
          <p:cNvPr id="33" name="Picture 32" descr="Logo, company name&#10;&#10;Description automatically generated">
            <a:extLst>
              <a:ext uri="{FF2B5EF4-FFF2-40B4-BE49-F238E27FC236}">
                <a16:creationId xmlns:a16="http://schemas.microsoft.com/office/drawing/2014/main" id="{73943630-0A42-6927-401C-6ED2297A29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4F24F30-F943-FB32-FCC4-14E60E7E35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15695" y="1792724"/>
            <a:ext cx="3409341" cy="212044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1626E4B9-25C8-06E5-6FCC-BCF9F78DA29B}"/>
              </a:ext>
            </a:extLst>
          </p:cNvPr>
          <p:cNvSpPr/>
          <p:nvPr/>
        </p:nvSpPr>
        <p:spPr>
          <a:xfrm>
            <a:off x="3515695" y="2162507"/>
            <a:ext cx="3408069" cy="1687068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01125A-2FC2-9D16-ACA5-07091364DCAE}"/>
              </a:ext>
            </a:extLst>
          </p:cNvPr>
          <p:cNvSpPr txBox="1"/>
          <p:nvPr/>
        </p:nvSpPr>
        <p:spPr>
          <a:xfrm>
            <a:off x="7713556" y="4420439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27 rows and 2 column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217C6E5-97BE-DD9E-B70A-5B511C664F3F}"/>
              </a:ext>
            </a:extLst>
          </p:cNvPr>
          <p:cNvCxnSpPr/>
          <p:nvPr/>
        </p:nvCxnSpPr>
        <p:spPr>
          <a:xfrm>
            <a:off x="7929878" y="4143256"/>
            <a:ext cx="0" cy="23304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F06570-BA8B-FA00-5616-6A08FBD6E1E6}"/>
              </a:ext>
            </a:extLst>
          </p:cNvPr>
          <p:cNvCxnSpPr/>
          <p:nvPr/>
        </p:nvCxnSpPr>
        <p:spPr>
          <a:xfrm flipH="1">
            <a:off x="7916786" y="4153530"/>
            <a:ext cx="213499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A25576C-F219-CAAF-C1ED-FB1B0A3247B3}"/>
              </a:ext>
            </a:extLst>
          </p:cNvPr>
          <p:cNvSpPr txBox="1"/>
          <p:nvPr/>
        </p:nvSpPr>
        <p:spPr>
          <a:xfrm>
            <a:off x="888801" y="1977841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head() metho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40BB60-3247-3AD3-8AE7-96C10F5D7EC1}"/>
              </a:ext>
            </a:extLst>
          </p:cNvPr>
          <p:cNvSpPr txBox="1"/>
          <p:nvPr/>
        </p:nvSpPr>
        <p:spPr>
          <a:xfrm>
            <a:off x="894837" y="4006970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tail() method</a:t>
            </a:r>
          </a:p>
        </p:txBody>
      </p:sp>
    </p:spTree>
    <p:extLst>
      <p:ext uri="{BB962C8B-B14F-4D97-AF65-F5344CB8AC3E}">
        <p14:creationId xmlns:p14="http://schemas.microsoft.com/office/powerpoint/2010/main" val="7368053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E16D13-146D-0F54-7DA6-D846B34A58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E16D13-146D-0F54-7DA6-D846B34A5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Picture 42" descr="Text&#10;&#10;Description automatically generated">
            <a:extLst>
              <a:ext uri="{FF2B5EF4-FFF2-40B4-BE49-F238E27FC236}">
                <a16:creationId xmlns:a16="http://schemas.microsoft.com/office/drawing/2014/main" id="{EA90070A-FD79-5BB2-8749-BAE3B72E5F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650" y="2952277"/>
            <a:ext cx="4521200" cy="20193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580568" y="456611"/>
            <a:ext cx="7036098" cy="850543"/>
            <a:chOff x="2454443" y="416783"/>
            <a:chExt cx="7036098" cy="85054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688688" y="416783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 Data exploration cont.</a:t>
              </a:r>
            </a:p>
          </p:txBody>
        </p:sp>
      </p:grpSp>
      <p:graphicFrame>
        <p:nvGraphicFramePr>
          <p:cNvPr id="25" name="Table 26">
            <a:extLst>
              <a:ext uri="{FF2B5EF4-FFF2-40B4-BE49-F238E27FC236}">
                <a16:creationId xmlns:a16="http://schemas.microsoft.com/office/drawing/2014/main" id="{1F3419A9-AD74-7170-8EC0-7E07504B115C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2557649"/>
          <a:ext cx="3624180" cy="249406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opu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8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er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27" name="Table 12">
            <a:extLst>
              <a:ext uri="{FF2B5EF4-FFF2-40B4-BE49-F238E27FC236}">
                <a16:creationId xmlns:a16="http://schemas.microsoft.com/office/drawing/2014/main" id="{217513B9-76C9-99E2-2F9C-4CBBB6F3055F}"/>
              </a:ext>
            </a:extLst>
          </p:cNvPr>
          <p:cNvGraphicFramePr>
            <a:graphicFrameLocks noGrp="1"/>
          </p:cNvGraphicFramePr>
          <p:nvPr/>
        </p:nvGraphicFramePr>
        <p:xfrm>
          <a:off x="340242" y="3025237"/>
          <a:ext cx="448888" cy="2026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749E47E-5D4B-A792-200E-72C235FD29B4}"/>
              </a:ext>
            </a:extLst>
          </p:cNvPr>
          <p:cNvCxnSpPr>
            <a:cxnSpLocks/>
          </p:cNvCxnSpPr>
          <p:nvPr/>
        </p:nvCxnSpPr>
        <p:spPr>
          <a:xfrm>
            <a:off x="8148552" y="3175011"/>
            <a:ext cx="995448" cy="0"/>
          </a:xfrm>
          <a:prstGeom prst="line">
            <a:avLst/>
          </a:prstGeom>
          <a:noFill/>
          <a:ln w="28575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DA828F6-D05B-3BD8-6B71-729ABB80E209}"/>
              </a:ext>
            </a:extLst>
          </p:cNvPr>
          <p:cNvCxnSpPr>
            <a:cxnSpLocks/>
          </p:cNvCxnSpPr>
          <p:nvPr/>
        </p:nvCxnSpPr>
        <p:spPr>
          <a:xfrm>
            <a:off x="6645555" y="3358793"/>
            <a:ext cx="1879390" cy="0"/>
          </a:xfrm>
          <a:prstGeom prst="line">
            <a:avLst/>
          </a:prstGeom>
          <a:noFill/>
          <a:ln w="28575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4D97DD2-6C42-22A5-6235-679F08A5B4B9}"/>
              </a:ext>
            </a:extLst>
          </p:cNvPr>
          <p:cNvCxnSpPr>
            <a:cxnSpLocks/>
          </p:cNvCxnSpPr>
          <p:nvPr/>
        </p:nvCxnSpPr>
        <p:spPr>
          <a:xfrm flipH="1">
            <a:off x="9539607" y="3706361"/>
            <a:ext cx="435506" cy="0"/>
          </a:xfrm>
          <a:prstGeom prst="straightConnector1">
            <a:avLst/>
          </a:prstGeom>
          <a:ln w="28575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Down Arrow 34">
            <a:extLst>
              <a:ext uri="{FF2B5EF4-FFF2-40B4-BE49-F238E27FC236}">
                <a16:creationId xmlns:a16="http://schemas.microsoft.com/office/drawing/2014/main" id="{9E5D269E-9284-802C-0E53-49E926A87AE6}"/>
              </a:ext>
            </a:extLst>
          </p:cNvPr>
          <p:cNvSpPr/>
          <p:nvPr/>
        </p:nvSpPr>
        <p:spPr>
          <a:xfrm rot="16200000">
            <a:off x="4781283" y="3762203"/>
            <a:ext cx="194812" cy="35773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940682-1043-4D17-5FED-1963EE05D2EB}"/>
              </a:ext>
            </a:extLst>
          </p:cNvPr>
          <p:cNvSpPr txBox="1"/>
          <p:nvPr/>
        </p:nvSpPr>
        <p:spPr>
          <a:xfrm>
            <a:off x="659390" y="1646037"/>
            <a:ext cx="95205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et a quick summary of the dataframe with th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info() metho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(i.e. # of columns and rows,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ata type, missing values #):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nfo()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9532FD-8C15-C3C3-9E5C-80251F14C77B}"/>
              </a:ext>
            </a:extLst>
          </p:cNvPr>
          <p:cNvCxnSpPr>
            <a:cxnSpLocks/>
          </p:cNvCxnSpPr>
          <p:nvPr/>
        </p:nvCxnSpPr>
        <p:spPr>
          <a:xfrm>
            <a:off x="5404307" y="4684215"/>
            <a:ext cx="2744245" cy="0"/>
          </a:xfrm>
          <a:prstGeom prst="line">
            <a:avLst/>
          </a:prstGeom>
          <a:noFill/>
          <a:ln w="28575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ABB0C4FB-780B-EAEB-93BB-6EF43698B381}"/>
              </a:ext>
            </a:extLst>
          </p:cNvPr>
          <p:cNvSpPr txBox="1"/>
          <p:nvPr/>
        </p:nvSpPr>
        <p:spPr>
          <a:xfrm>
            <a:off x="4853444" y="5734968"/>
            <a:ext cx="1425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missing valu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695364B-3F1B-C2B8-D70B-1C79C4B98874}"/>
              </a:ext>
            </a:extLst>
          </p:cNvPr>
          <p:cNvCxnSpPr>
            <a:cxnSpLocks/>
          </p:cNvCxnSpPr>
          <p:nvPr/>
        </p:nvCxnSpPr>
        <p:spPr>
          <a:xfrm>
            <a:off x="6834894" y="3589852"/>
            <a:ext cx="1690051" cy="0"/>
          </a:xfrm>
          <a:prstGeom prst="line">
            <a:avLst/>
          </a:prstGeom>
          <a:noFill/>
          <a:ln w="28575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57319E98-0A27-F9D5-5D82-E41F83B2BD33}"/>
              </a:ext>
            </a:extLst>
          </p:cNvPr>
          <p:cNvSpPr/>
          <p:nvPr/>
        </p:nvSpPr>
        <p:spPr>
          <a:xfrm>
            <a:off x="7187381" y="4237703"/>
            <a:ext cx="1130709" cy="2458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A0D3948-D964-F652-5516-40E5E7D2B610}"/>
              </a:ext>
            </a:extLst>
          </p:cNvPr>
          <p:cNvSpPr/>
          <p:nvPr/>
        </p:nvSpPr>
        <p:spPr>
          <a:xfrm>
            <a:off x="3005757" y="4720853"/>
            <a:ext cx="1130709" cy="2458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CAD77FA-4D7B-E514-D791-1D8DA79665DC}"/>
              </a:ext>
            </a:extLst>
          </p:cNvPr>
          <p:cNvGrpSpPr/>
          <p:nvPr/>
        </p:nvGrpSpPr>
        <p:grpSpPr>
          <a:xfrm>
            <a:off x="3561279" y="4483510"/>
            <a:ext cx="4191456" cy="1206677"/>
            <a:chOff x="3561279" y="4483510"/>
            <a:chExt cx="4191456" cy="1206677"/>
          </a:xfrm>
        </p:grpSpPr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0FEE461D-E725-C8EF-DD55-C418306BBB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37987" y="4483510"/>
              <a:ext cx="0" cy="1187013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03CDD720-2236-15EA-E989-54C36ACBAE79}"/>
                </a:ext>
              </a:extLst>
            </p:cNvPr>
            <p:cNvCxnSpPr/>
            <p:nvPr/>
          </p:nvCxnSpPr>
          <p:spPr>
            <a:xfrm>
              <a:off x="3571111" y="5676528"/>
              <a:ext cx="4181624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97B77FE1-3CF1-6411-B398-7457FF036393}"/>
                </a:ext>
              </a:extLst>
            </p:cNvPr>
            <p:cNvCxnSpPr/>
            <p:nvPr/>
          </p:nvCxnSpPr>
          <p:spPr>
            <a:xfrm flipV="1">
              <a:off x="3561279" y="5222299"/>
              <a:ext cx="0" cy="467888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26" name="Picture 25" descr="Logo, company name&#10;&#10;Description automatically generated">
            <a:extLst>
              <a:ext uri="{FF2B5EF4-FFF2-40B4-BE49-F238E27FC236}">
                <a16:creationId xmlns:a16="http://schemas.microsoft.com/office/drawing/2014/main" id="{08D7FB8B-0A03-BE07-AF72-7459041A7E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609D3FE-A17A-7F9E-31CC-2D5CC613B446}"/>
              </a:ext>
            </a:extLst>
          </p:cNvPr>
          <p:cNvSpPr txBox="1"/>
          <p:nvPr/>
        </p:nvSpPr>
        <p:spPr>
          <a:xfrm>
            <a:off x="4536287" y="3561068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5258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33DE44-F7CF-10FE-2185-09160D53FF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33DE44-F7CF-10FE-2185-09160D53F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640562" y="488357"/>
            <a:ext cx="6895743" cy="846804"/>
            <a:chOff x="2454443" y="420522"/>
            <a:chExt cx="6895743" cy="84680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548333" y="420522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selection (columns)</a:t>
              </a:r>
            </a:p>
          </p:txBody>
        </p:sp>
      </p:grpSp>
      <p:graphicFrame>
        <p:nvGraphicFramePr>
          <p:cNvPr id="25" name="Table 26">
            <a:extLst>
              <a:ext uri="{FF2B5EF4-FFF2-40B4-BE49-F238E27FC236}">
                <a16:creationId xmlns:a16="http://schemas.microsoft.com/office/drawing/2014/main" id="{4D328744-5F30-7EA3-E289-CC0428F31E4E}"/>
              </a:ext>
            </a:extLst>
          </p:cNvPr>
          <p:cNvGraphicFramePr>
            <a:graphicFrameLocks noGrp="1"/>
          </p:cNvGraphicFramePr>
          <p:nvPr/>
        </p:nvGraphicFramePr>
        <p:xfrm>
          <a:off x="3397864" y="2181966"/>
          <a:ext cx="3624180" cy="249406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opu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8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er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718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26" name="Table 12">
            <a:extLst>
              <a:ext uri="{FF2B5EF4-FFF2-40B4-BE49-F238E27FC236}">
                <a16:creationId xmlns:a16="http://schemas.microsoft.com/office/drawing/2014/main" id="{7E115C7A-7D4D-C608-7278-18107BA7F58A}"/>
              </a:ext>
            </a:extLst>
          </p:cNvPr>
          <p:cNvGraphicFramePr>
            <a:graphicFrameLocks noGrp="1"/>
          </p:cNvGraphicFramePr>
          <p:nvPr/>
        </p:nvGraphicFramePr>
        <p:xfrm>
          <a:off x="2886826" y="2640898"/>
          <a:ext cx="448888" cy="2026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2D5F156C-8AE3-A828-D172-C5D32C30E484}"/>
              </a:ext>
            </a:extLst>
          </p:cNvPr>
          <p:cNvSpPr txBox="1"/>
          <p:nvPr/>
        </p:nvSpPr>
        <p:spPr>
          <a:xfrm>
            <a:off x="144346" y="1917989"/>
            <a:ext cx="258917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elect one column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by column name using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ouble backets [[ ]]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['Country']]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5A42180-D9B4-2B68-C17C-D1F23BA9F3C9}"/>
              </a:ext>
            </a:extLst>
          </p:cNvPr>
          <p:cNvGrpSpPr/>
          <p:nvPr/>
        </p:nvGrpSpPr>
        <p:grpSpPr>
          <a:xfrm>
            <a:off x="2669524" y="1961493"/>
            <a:ext cx="2540428" cy="2705884"/>
            <a:chOff x="2669524" y="1961493"/>
            <a:chExt cx="2540428" cy="270588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0F0831-3164-BC33-9657-E93F14EE3C49}"/>
                </a:ext>
              </a:extLst>
            </p:cNvPr>
            <p:cNvSpPr/>
            <p:nvPr/>
          </p:nvSpPr>
          <p:spPr>
            <a:xfrm>
              <a:off x="3391111" y="2152451"/>
              <a:ext cx="1818841" cy="2514926"/>
            </a:xfrm>
            <a:prstGeom prst="rect">
              <a:avLst/>
            </a:prstGeom>
            <a:noFill/>
            <a:ln w="38100">
              <a:solidFill>
                <a:srgbClr val="EB51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467DA8CB-C313-FA18-6775-342ED1C8FCB5}"/>
                </a:ext>
              </a:extLst>
            </p:cNvPr>
            <p:cNvGrpSpPr/>
            <p:nvPr/>
          </p:nvGrpSpPr>
          <p:grpSpPr>
            <a:xfrm>
              <a:off x="2669524" y="1961493"/>
              <a:ext cx="730102" cy="721442"/>
              <a:chOff x="2669524" y="1961493"/>
              <a:chExt cx="730102" cy="721442"/>
            </a:xfrm>
          </p:grpSpPr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BF14C94D-CBC4-1193-256B-13FE0CD184B0}"/>
                  </a:ext>
                </a:extLst>
              </p:cNvPr>
              <p:cNvCxnSpPr/>
              <p:nvPr/>
            </p:nvCxnSpPr>
            <p:spPr>
              <a:xfrm>
                <a:off x="2669524" y="2279883"/>
                <a:ext cx="730102" cy="0"/>
              </a:xfrm>
              <a:prstGeom prst="line">
                <a:avLst/>
              </a:prstGeom>
              <a:ln w="38100">
                <a:solidFill>
                  <a:srgbClr val="EB51C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AD3BF003-EE89-526B-D71A-ED0248847B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69524" y="1961493"/>
                <a:ext cx="0" cy="721442"/>
              </a:xfrm>
              <a:prstGeom prst="line">
                <a:avLst/>
              </a:prstGeom>
              <a:ln w="38100">
                <a:solidFill>
                  <a:srgbClr val="EB51C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71966AE-5E98-BAA5-8843-6ED35FC4F3DC}"/>
              </a:ext>
            </a:extLst>
          </p:cNvPr>
          <p:cNvSpPr txBox="1"/>
          <p:nvPr/>
        </p:nvSpPr>
        <p:spPr>
          <a:xfrm>
            <a:off x="225528" y="3816869"/>
            <a:ext cx="257884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new column can be stored in a new variable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ies=dataframe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['Country']]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Down Arrow 33">
            <a:extLst>
              <a:ext uri="{FF2B5EF4-FFF2-40B4-BE49-F238E27FC236}">
                <a16:creationId xmlns:a16="http://schemas.microsoft.com/office/drawing/2014/main" id="{3EC082BC-25ED-0294-D426-191B7250B8CB}"/>
              </a:ext>
            </a:extLst>
          </p:cNvPr>
          <p:cNvSpPr/>
          <p:nvPr/>
        </p:nvSpPr>
        <p:spPr>
          <a:xfrm>
            <a:off x="1115634" y="3357829"/>
            <a:ext cx="239698" cy="37349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31FFEEA-1603-7C59-A0EE-BA238E8BB226}"/>
              </a:ext>
            </a:extLst>
          </p:cNvPr>
          <p:cNvSpPr txBox="1"/>
          <p:nvPr/>
        </p:nvSpPr>
        <p:spPr>
          <a:xfrm>
            <a:off x="7720386" y="2249513"/>
            <a:ext cx="229085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elect more than one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olumn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['Country', 'Population']]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425844A-C187-7382-94A4-41B84B03E4B0}"/>
              </a:ext>
            </a:extLst>
          </p:cNvPr>
          <p:cNvGrpSpPr/>
          <p:nvPr/>
        </p:nvGrpSpPr>
        <p:grpSpPr>
          <a:xfrm>
            <a:off x="3383135" y="2152454"/>
            <a:ext cx="4252328" cy="2514926"/>
            <a:chOff x="3383135" y="2152454"/>
            <a:chExt cx="4252328" cy="2514926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9FA0520-DAC2-604C-5D36-B17E342C1DD0}"/>
                </a:ext>
              </a:extLst>
            </p:cNvPr>
            <p:cNvSpPr/>
            <p:nvPr/>
          </p:nvSpPr>
          <p:spPr>
            <a:xfrm>
              <a:off x="3383135" y="2152454"/>
              <a:ext cx="3615665" cy="2514926"/>
            </a:xfrm>
            <a:prstGeom prst="rect">
              <a:avLst/>
            </a:prstGeom>
            <a:noFill/>
            <a:ln w="38100">
              <a:solidFill>
                <a:srgbClr val="EB51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FFE1C3B-B405-77DF-D6D2-75CABEDDBCAE}"/>
                </a:ext>
              </a:extLst>
            </p:cNvPr>
            <p:cNvGrpSpPr/>
            <p:nvPr/>
          </p:nvGrpSpPr>
          <p:grpSpPr>
            <a:xfrm flipH="1">
              <a:off x="7018965" y="3126676"/>
              <a:ext cx="616498" cy="604648"/>
              <a:chOff x="2669524" y="1961493"/>
              <a:chExt cx="730102" cy="721442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4089190-95AE-DE8C-91D3-D4595FCB7802}"/>
                  </a:ext>
                </a:extLst>
              </p:cNvPr>
              <p:cNvCxnSpPr/>
              <p:nvPr/>
            </p:nvCxnSpPr>
            <p:spPr>
              <a:xfrm>
                <a:off x="2669524" y="2279883"/>
                <a:ext cx="730102" cy="0"/>
              </a:xfrm>
              <a:prstGeom prst="line">
                <a:avLst/>
              </a:prstGeom>
              <a:ln w="38100">
                <a:solidFill>
                  <a:srgbClr val="EB51C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8D68E9A-8228-FF37-6926-B5F14E5B47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69524" y="1961493"/>
                <a:ext cx="0" cy="721442"/>
              </a:xfrm>
              <a:prstGeom prst="line">
                <a:avLst/>
              </a:prstGeom>
              <a:ln w="38100">
                <a:solidFill>
                  <a:srgbClr val="EB51C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3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86B3A58B-7332-583C-DD70-0A88549DF7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FED2C09-F0A7-F995-4EBC-C5004DD91324}"/>
              </a:ext>
            </a:extLst>
          </p:cNvPr>
          <p:cNvSpPr txBox="1"/>
          <p:nvPr/>
        </p:nvSpPr>
        <p:spPr>
          <a:xfrm>
            <a:off x="2914467" y="5080788"/>
            <a:ext cx="4412747" cy="1200329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t is possible to select data with one pair of [ ], but python will return a Series object not a dataframe: try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Country']</a:t>
            </a:r>
          </a:p>
        </p:txBody>
      </p:sp>
      <p:pic>
        <p:nvPicPr>
          <p:cNvPr id="11" name="Picture 10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ECB8920-D050-1929-3DEC-F8DAA06F27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140" y="5954610"/>
            <a:ext cx="1892801" cy="76842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Picture 16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8994607F-66BB-5E6E-3CCD-66697164A8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386" y="4551971"/>
            <a:ext cx="2111839" cy="1316558"/>
          </a:xfrm>
          <a:prstGeom prst="rect">
            <a:avLst/>
          </a:prstGeom>
        </p:spPr>
      </p:pic>
      <p:sp>
        <p:nvSpPr>
          <p:cNvPr id="18" name="Down Arrow 17">
            <a:extLst>
              <a:ext uri="{FF2B5EF4-FFF2-40B4-BE49-F238E27FC236}">
                <a16:creationId xmlns:a16="http://schemas.microsoft.com/office/drawing/2014/main" id="{4A2C1C7A-A400-226C-B3CE-1225A3830723}"/>
              </a:ext>
            </a:extLst>
          </p:cNvPr>
          <p:cNvSpPr/>
          <p:nvPr/>
        </p:nvSpPr>
        <p:spPr>
          <a:xfrm rot="16200000">
            <a:off x="7407667" y="5332288"/>
            <a:ext cx="221627" cy="23890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7AC4E1A-3A87-8D77-DBF5-C4EF2526D31C}"/>
              </a:ext>
            </a:extLst>
          </p:cNvPr>
          <p:cNvSpPr txBox="1"/>
          <p:nvPr/>
        </p:nvSpPr>
        <p:spPr>
          <a:xfrm>
            <a:off x="2914467" y="6232860"/>
            <a:ext cx="4412747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method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ype()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ives the data type</a:t>
            </a:r>
            <a:endParaRPr lang="en-GB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Down Arrow 35">
            <a:extLst>
              <a:ext uri="{FF2B5EF4-FFF2-40B4-BE49-F238E27FC236}">
                <a16:creationId xmlns:a16="http://schemas.microsoft.com/office/drawing/2014/main" id="{0B6EC241-AAF8-AEE3-CF78-71E058CD4CC4}"/>
              </a:ext>
            </a:extLst>
          </p:cNvPr>
          <p:cNvSpPr/>
          <p:nvPr/>
        </p:nvSpPr>
        <p:spPr>
          <a:xfrm rot="16200000">
            <a:off x="7458674" y="6316069"/>
            <a:ext cx="221627" cy="23890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5416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7" grpId="1"/>
      <p:bldP spid="33" grpId="0"/>
      <p:bldP spid="33" grpId="1"/>
      <p:bldP spid="34" grpId="0" animBg="1"/>
      <p:bldP spid="34" grpId="1" animBg="1"/>
      <p:bldP spid="3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640562" y="413761"/>
            <a:ext cx="7270277" cy="930544"/>
            <a:chOff x="2454443" y="336782"/>
            <a:chExt cx="7270277" cy="93054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922867" y="336782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selection (rows)</a:t>
              </a:r>
            </a:p>
          </p:txBody>
        </p:sp>
      </p:grpSp>
      <p:graphicFrame>
        <p:nvGraphicFramePr>
          <p:cNvPr id="23" name="Table 26">
            <a:extLst>
              <a:ext uri="{FF2B5EF4-FFF2-40B4-BE49-F238E27FC236}">
                <a16:creationId xmlns:a16="http://schemas.microsoft.com/office/drawing/2014/main" id="{6C20BC76-508A-0679-E0A6-59C179AEBF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0773456"/>
              </p:ext>
            </p:extLst>
          </p:nvPr>
        </p:nvGraphicFramePr>
        <p:xfrm>
          <a:off x="4270260" y="2764267"/>
          <a:ext cx="3624180" cy="249406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Population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8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er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718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24" name="Table 12">
            <a:extLst>
              <a:ext uri="{FF2B5EF4-FFF2-40B4-BE49-F238E27FC236}">
                <a16:creationId xmlns:a16="http://schemas.microsoft.com/office/drawing/2014/main" id="{E06106E9-3260-E8E9-4E25-36684A8BC023}"/>
              </a:ext>
            </a:extLst>
          </p:cNvPr>
          <p:cNvGraphicFramePr>
            <a:graphicFrameLocks noGrp="1"/>
          </p:cNvGraphicFramePr>
          <p:nvPr/>
        </p:nvGraphicFramePr>
        <p:xfrm>
          <a:off x="3718269" y="3223199"/>
          <a:ext cx="448888" cy="2026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B503E38F-0F71-9EEE-75D1-5C361B245CEA}"/>
              </a:ext>
            </a:extLst>
          </p:cNvPr>
          <p:cNvSpPr txBox="1"/>
          <p:nvPr/>
        </p:nvSpPr>
        <p:spPr>
          <a:xfrm>
            <a:off x="2718484" y="5696912"/>
            <a:ext cx="2954655" cy="1015663"/>
          </a:xfrm>
          <a:prstGeom prst="rect">
            <a:avLst/>
          </a:prstGeom>
          <a:noFill/>
          <a:ln>
            <a:solidFill>
              <a:schemeClr val="accent5">
                <a:lumMod val="50000"/>
              </a:schemeClr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.loc </a:t>
            </a:r>
          </a:p>
          <a:p>
            <a:pPr algn="ctr"/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(primarily label based)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loc[row label, column label]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742C789-CAF2-C074-9FD3-A11053A2448F}"/>
              </a:ext>
            </a:extLst>
          </p:cNvPr>
          <p:cNvSpPr txBox="1"/>
          <p:nvPr/>
        </p:nvSpPr>
        <p:spPr>
          <a:xfrm>
            <a:off x="499283" y="2548637"/>
            <a:ext cx="28616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loc[0, 'Country']</a:t>
            </a: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60D25F-7CB1-EABD-3DA2-CD37E4BBF2D9}"/>
              </a:ext>
            </a:extLst>
          </p:cNvPr>
          <p:cNvSpPr/>
          <p:nvPr/>
        </p:nvSpPr>
        <p:spPr>
          <a:xfrm>
            <a:off x="3710454" y="3186789"/>
            <a:ext cx="448888" cy="432731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FA58B2-7CAB-99C8-3B5E-AB998B779608}"/>
              </a:ext>
            </a:extLst>
          </p:cNvPr>
          <p:cNvSpPr/>
          <p:nvPr/>
        </p:nvSpPr>
        <p:spPr>
          <a:xfrm>
            <a:off x="4214950" y="3186789"/>
            <a:ext cx="1982791" cy="432730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BA3C262-01DC-87F9-6079-298239BC1EFC}"/>
              </a:ext>
            </a:extLst>
          </p:cNvPr>
          <p:cNvCxnSpPr>
            <a:cxnSpLocks/>
          </p:cNvCxnSpPr>
          <p:nvPr/>
        </p:nvCxnSpPr>
        <p:spPr>
          <a:xfrm>
            <a:off x="1999488" y="3411007"/>
            <a:ext cx="1672282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032FD71-F75F-0A95-A88E-4F7F12FCE530}"/>
              </a:ext>
            </a:extLst>
          </p:cNvPr>
          <p:cNvCxnSpPr>
            <a:cxnSpLocks/>
          </p:cNvCxnSpPr>
          <p:nvPr/>
        </p:nvCxnSpPr>
        <p:spPr>
          <a:xfrm flipV="1">
            <a:off x="1999488" y="2913888"/>
            <a:ext cx="0" cy="497119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B1E9184-84DF-462F-328D-56E9BCB27814}"/>
              </a:ext>
            </a:extLst>
          </p:cNvPr>
          <p:cNvCxnSpPr>
            <a:cxnSpLocks/>
          </p:cNvCxnSpPr>
          <p:nvPr/>
        </p:nvCxnSpPr>
        <p:spPr>
          <a:xfrm>
            <a:off x="5025082" y="2440553"/>
            <a:ext cx="0" cy="746236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096E51B-D940-09F1-FC5E-E45240D9F720}"/>
              </a:ext>
            </a:extLst>
          </p:cNvPr>
          <p:cNvCxnSpPr>
            <a:cxnSpLocks/>
          </p:cNvCxnSpPr>
          <p:nvPr/>
        </p:nvCxnSpPr>
        <p:spPr>
          <a:xfrm flipH="1">
            <a:off x="2622741" y="2440553"/>
            <a:ext cx="2402341" cy="0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C77A710-7714-06C4-8E38-D9B8907FF1E5}"/>
              </a:ext>
            </a:extLst>
          </p:cNvPr>
          <p:cNvCxnSpPr/>
          <p:nvPr/>
        </p:nvCxnSpPr>
        <p:spPr>
          <a:xfrm flipV="1">
            <a:off x="2602992" y="2420112"/>
            <a:ext cx="0" cy="172309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7D86BC5-AABC-C60F-C66C-DDCAC8824C09}"/>
              </a:ext>
            </a:extLst>
          </p:cNvPr>
          <p:cNvCxnSpPr>
            <a:cxnSpLocks/>
          </p:cNvCxnSpPr>
          <p:nvPr/>
        </p:nvCxnSpPr>
        <p:spPr>
          <a:xfrm>
            <a:off x="1903374" y="2907100"/>
            <a:ext cx="192227" cy="0"/>
          </a:xfrm>
          <a:prstGeom prst="line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72D3E28-DE93-91FF-0519-7843E685AD6E}"/>
              </a:ext>
            </a:extLst>
          </p:cNvPr>
          <p:cNvCxnSpPr>
            <a:cxnSpLocks/>
          </p:cNvCxnSpPr>
          <p:nvPr/>
        </p:nvCxnSpPr>
        <p:spPr>
          <a:xfrm>
            <a:off x="2277126" y="2592421"/>
            <a:ext cx="691230" cy="0"/>
          </a:xfrm>
          <a:prstGeom prst="line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61840E22-6A26-328B-22C7-267B73525384}"/>
              </a:ext>
            </a:extLst>
          </p:cNvPr>
          <p:cNvSpPr txBox="1"/>
          <p:nvPr/>
        </p:nvSpPr>
        <p:spPr>
          <a:xfrm>
            <a:off x="495504" y="4502181"/>
            <a:ext cx="208262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2,1]</a:t>
            </a: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B4A1D1C-68F9-E5DD-276E-875910B4B975}"/>
              </a:ext>
            </a:extLst>
          </p:cNvPr>
          <p:cNvSpPr/>
          <p:nvPr/>
        </p:nvSpPr>
        <p:spPr>
          <a:xfrm>
            <a:off x="6363935" y="4004576"/>
            <a:ext cx="1530506" cy="432730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3109024-E3F9-1C43-BCE4-8B4FEF169A16}"/>
              </a:ext>
            </a:extLst>
          </p:cNvPr>
          <p:cNvSpPr/>
          <p:nvPr/>
        </p:nvSpPr>
        <p:spPr>
          <a:xfrm>
            <a:off x="3691605" y="4020073"/>
            <a:ext cx="448888" cy="432731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7888AA0-BBD3-BEE7-15B1-0A5955D42007}"/>
              </a:ext>
            </a:extLst>
          </p:cNvPr>
          <p:cNvCxnSpPr>
            <a:cxnSpLocks/>
          </p:cNvCxnSpPr>
          <p:nvPr/>
        </p:nvCxnSpPr>
        <p:spPr>
          <a:xfrm>
            <a:off x="2054351" y="4236438"/>
            <a:ext cx="1617419" cy="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7977DFB-27F4-51C7-6B1A-6D15698A22F5}"/>
              </a:ext>
            </a:extLst>
          </p:cNvPr>
          <p:cNvCxnSpPr>
            <a:cxnSpLocks/>
          </p:cNvCxnSpPr>
          <p:nvPr/>
        </p:nvCxnSpPr>
        <p:spPr>
          <a:xfrm flipV="1">
            <a:off x="7010110" y="4452804"/>
            <a:ext cx="0" cy="685135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0D12778-E10A-809D-CE8C-1CE65CB443E0}"/>
              </a:ext>
            </a:extLst>
          </p:cNvPr>
          <p:cNvCxnSpPr>
            <a:cxnSpLocks/>
          </p:cNvCxnSpPr>
          <p:nvPr/>
        </p:nvCxnSpPr>
        <p:spPr>
          <a:xfrm flipH="1">
            <a:off x="2225039" y="5137939"/>
            <a:ext cx="4779785" cy="12489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BE75AD5-D1CB-B8B7-ABC1-2EE8BBA59EFC}"/>
              </a:ext>
            </a:extLst>
          </p:cNvPr>
          <p:cNvCxnSpPr>
            <a:cxnSpLocks/>
          </p:cNvCxnSpPr>
          <p:nvPr/>
        </p:nvCxnSpPr>
        <p:spPr>
          <a:xfrm>
            <a:off x="1958238" y="4522540"/>
            <a:ext cx="192227" cy="0"/>
          </a:xfrm>
          <a:prstGeom prst="lin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D7377A6-E62F-0A74-9A75-2DBCF9099AFF}"/>
              </a:ext>
            </a:extLst>
          </p:cNvPr>
          <p:cNvCxnSpPr>
            <a:cxnSpLocks/>
          </p:cNvCxnSpPr>
          <p:nvPr/>
        </p:nvCxnSpPr>
        <p:spPr>
          <a:xfrm>
            <a:off x="2128926" y="4863916"/>
            <a:ext cx="192227" cy="0"/>
          </a:xfrm>
          <a:prstGeom prst="lin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AF23E20-25B9-A61A-6E2D-1C2A4DD97077}"/>
              </a:ext>
            </a:extLst>
          </p:cNvPr>
          <p:cNvCxnSpPr>
            <a:cxnSpLocks/>
          </p:cNvCxnSpPr>
          <p:nvPr/>
        </p:nvCxnSpPr>
        <p:spPr>
          <a:xfrm flipV="1">
            <a:off x="2054351" y="4236438"/>
            <a:ext cx="0" cy="286102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BDC10BD-8F3B-FC7B-CB11-D9B17820391D}"/>
              </a:ext>
            </a:extLst>
          </p:cNvPr>
          <p:cNvCxnSpPr>
            <a:cxnSpLocks/>
          </p:cNvCxnSpPr>
          <p:nvPr/>
        </p:nvCxnSpPr>
        <p:spPr>
          <a:xfrm flipV="1">
            <a:off x="2231135" y="4864326"/>
            <a:ext cx="0" cy="286102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55F1B429-C895-0698-2914-F5C3AD2F962B}"/>
              </a:ext>
            </a:extLst>
          </p:cNvPr>
          <p:cNvSpPr txBox="1"/>
          <p:nvPr/>
        </p:nvSpPr>
        <p:spPr>
          <a:xfrm>
            <a:off x="6009374" y="5696912"/>
            <a:ext cx="3621504" cy="1015663"/>
          </a:xfrm>
          <a:prstGeom prst="rect">
            <a:avLst/>
          </a:prstGeom>
          <a:noFill/>
          <a:ln>
            <a:solidFill>
              <a:schemeClr val="accent5">
                <a:lumMod val="50000"/>
              </a:schemeClr>
            </a:solidFill>
            <a:prstDash val="dash"/>
          </a:ln>
        </p:spPr>
        <p:txBody>
          <a:bodyPr wrap="none" rtlCol="0">
            <a:spAutoFit/>
          </a:bodyPr>
          <a:lstStyle/>
          <a:p>
            <a:pPr algn="ctr"/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.iloc </a:t>
            </a:r>
          </a:p>
          <a:p>
            <a:pPr algn="ctr"/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(integer based)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loc[row position, column position]</a:t>
            </a:r>
          </a:p>
        </p:txBody>
      </p:sp>
      <p:pic>
        <p:nvPicPr>
          <p:cNvPr id="34" name="Picture 33" descr="Logo, company name&#10;&#10;Description automatically generated">
            <a:extLst>
              <a:ext uri="{FF2B5EF4-FFF2-40B4-BE49-F238E27FC236}">
                <a16:creationId xmlns:a16="http://schemas.microsoft.com/office/drawing/2014/main" id="{D97A13B7-5411-9BD9-E70E-8E90648607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02241D8-4DB1-6777-C968-3E1D3203D3A2}"/>
              </a:ext>
            </a:extLst>
          </p:cNvPr>
          <p:cNvSpPr txBox="1"/>
          <p:nvPr/>
        </p:nvSpPr>
        <p:spPr>
          <a:xfrm>
            <a:off x="239472" y="1605546"/>
            <a:ext cx="2864887" cy="369332"/>
          </a:xfrm>
          <a:prstGeom prst="rect">
            <a:avLst/>
          </a:prstGeom>
          <a:noFill/>
          <a:ln w="9525">
            <a:solidFill>
              <a:srgbClr val="0070C0"/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loc and .iloc commands</a:t>
            </a:r>
          </a:p>
        </p:txBody>
      </p:sp>
    </p:spTree>
    <p:extLst>
      <p:ext uri="{BB962C8B-B14F-4D97-AF65-F5344CB8AC3E}">
        <p14:creationId xmlns:p14="http://schemas.microsoft.com/office/powerpoint/2010/main" val="17370955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B5E164-27F8-4A1C-8FE4-2804ED857410}"/>
              </a:ext>
            </a:extLst>
          </p:cNvPr>
          <p:cNvCxnSpPr>
            <a:cxnSpLocks/>
          </p:cNvCxnSpPr>
          <p:nvPr/>
        </p:nvCxnSpPr>
        <p:spPr>
          <a:xfrm>
            <a:off x="2598853" y="1344305"/>
            <a:ext cx="661548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Table 26">
            <a:extLst>
              <a:ext uri="{FF2B5EF4-FFF2-40B4-BE49-F238E27FC236}">
                <a16:creationId xmlns:a16="http://schemas.microsoft.com/office/drawing/2014/main" id="{6C20BC76-508A-0679-E0A6-59C179AEBF52}"/>
              </a:ext>
            </a:extLst>
          </p:cNvPr>
          <p:cNvGraphicFramePr>
            <a:graphicFrameLocks noGrp="1"/>
          </p:cNvGraphicFramePr>
          <p:nvPr/>
        </p:nvGraphicFramePr>
        <p:xfrm>
          <a:off x="3869574" y="2764267"/>
          <a:ext cx="3624180" cy="249406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opu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8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er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718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24" name="Table 12">
            <a:extLst>
              <a:ext uri="{FF2B5EF4-FFF2-40B4-BE49-F238E27FC236}">
                <a16:creationId xmlns:a16="http://schemas.microsoft.com/office/drawing/2014/main" id="{E06106E9-3260-E8E9-4E25-36684A8BC023}"/>
              </a:ext>
            </a:extLst>
          </p:cNvPr>
          <p:cNvGraphicFramePr>
            <a:graphicFrameLocks noGrp="1"/>
          </p:cNvGraphicFramePr>
          <p:nvPr/>
        </p:nvGraphicFramePr>
        <p:xfrm>
          <a:off x="3317583" y="3223199"/>
          <a:ext cx="448888" cy="2026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0A289D0-82F8-50FF-1A58-8E89EC03AD2E}"/>
              </a:ext>
            </a:extLst>
          </p:cNvPr>
          <p:cNvSpPr txBox="1"/>
          <p:nvPr/>
        </p:nvSpPr>
        <p:spPr>
          <a:xfrm>
            <a:off x="239472" y="1605546"/>
            <a:ext cx="2864887" cy="369332"/>
          </a:xfrm>
          <a:prstGeom prst="rect">
            <a:avLst/>
          </a:prstGeom>
          <a:noFill/>
          <a:ln w="9525">
            <a:solidFill>
              <a:srgbClr val="0070C0"/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loc and .iloc command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742C789-CAF2-C074-9FD3-A11053A2448F}"/>
              </a:ext>
            </a:extLst>
          </p:cNvPr>
          <p:cNvSpPr txBox="1"/>
          <p:nvPr/>
        </p:nvSpPr>
        <p:spPr>
          <a:xfrm>
            <a:off x="659356" y="3169250"/>
            <a:ext cx="189026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loc[0]</a:t>
            </a:r>
          </a:p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</a:p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0]</a:t>
            </a: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FA58B2-7CAB-99C8-3B5E-AB998B779608}"/>
              </a:ext>
            </a:extLst>
          </p:cNvPr>
          <p:cNvSpPr/>
          <p:nvPr/>
        </p:nvSpPr>
        <p:spPr>
          <a:xfrm>
            <a:off x="3312052" y="3186789"/>
            <a:ext cx="4181702" cy="432730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BA3C262-01DC-87F9-6079-298239BC1EFC}"/>
              </a:ext>
            </a:extLst>
          </p:cNvPr>
          <p:cNvCxnSpPr>
            <a:cxnSpLocks/>
          </p:cNvCxnSpPr>
          <p:nvPr/>
        </p:nvCxnSpPr>
        <p:spPr>
          <a:xfrm>
            <a:off x="2501010" y="3411007"/>
            <a:ext cx="770074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4B4A1D1C-68F9-E5DD-276E-875910B4B975}"/>
              </a:ext>
            </a:extLst>
          </p:cNvPr>
          <p:cNvSpPr/>
          <p:nvPr/>
        </p:nvSpPr>
        <p:spPr>
          <a:xfrm>
            <a:off x="3312052" y="4004575"/>
            <a:ext cx="4181703" cy="1245103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FBC21D-2450-0FD9-41AD-1519DD99765A}"/>
              </a:ext>
            </a:extLst>
          </p:cNvPr>
          <p:cNvSpPr txBox="1"/>
          <p:nvPr/>
        </p:nvSpPr>
        <p:spPr>
          <a:xfrm>
            <a:off x="516658" y="4277380"/>
            <a:ext cx="203132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loc[2:4]</a:t>
            </a:r>
          </a:p>
          <a:p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C9E1699-596E-9C4D-01E0-B2D2D4FF6894}"/>
              </a:ext>
            </a:extLst>
          </p:cNvPr>
          <p:cNvSpPr txBox="1"/>
          <p:nvPr/>
        </p:nvSpPr>
        <p:spPr>
          <a:xfrm>
            <a:off x="4121397" y="5822695"/>
            <a:ext cx="391645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2:4]</a:t>
            </a:r>
          </a:p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It selects the first row index to n-1</a:t>
            </a:r>
          </a:p>
          <a:p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E02F8FD-225F-0042-BBC7-CEE773E815B0}"/>
              </a:ext>
            </a:extLst>
          </p:cNvPr>
          <p:cNvSpPr/>
          <p:nvPr/>
        </p:nvSpPr>
        <p:spPr>
          <a:xfrm>
            <a:off x="3122191" y="4042040"/>
            <a:ext cx="4501968" cy="817787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C47C22-589E-63AE-5691-8D4899AA0041}"/>
              </a:ext>
            </a:extLst>
          </p:cNvPr>
          <p:cNvCxnSpPr/>
          <p:nvPr/>
        </p:nvCxnSpPr>
        <p:spPr>
          <a:xfrm>
            <a:off x="5524626" y="4859827"/>
            <a:ext cx="0" cy="893273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AE0371B-9236-F9DB-7313-68C247555AC6}"/>
              </a:ext>
            </a:extLst>
          </p:cNvPr>
          <p:cNvCxnSpPr>
            <a:cxnSpLocks/>
          </p:cNvCxnSpPr>
          <p:nvPr/>
        </p:nvCxnSpPr>
        <p:spPr>
          <a:xfrm flipH="1">
            <a:off x="5087396" y="5757672"/>
            <a:ext cx="846091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AC46F7A-955D-5EAD-8E86-5E4CFFA6A456}"/>
              </a:ext>
            </a:extLst>
          </p:cNvPr>
          <p:cNvCxnSpPr/>
          <p:nvPr/>
        </p:nvCxnSpPr>
        <p:spPr>
          <a:xfrm>
            <a:off x="2566968" y="4416213"/>
            <a:ext cx="74508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263294E-1D8F-A0EF-B77B-5E893572E5F1}"/>
              </a:ext>
            </a:extLst>
          </p:cNvPr>
          <p:cNvCxnSpPr>
            <a:cxnSpLocks/>
          </p:cNvCxnSpPr>
          <p:nvPr/>
        </p:nvCxnSpPr>
        <p:spPr>
          <a:xfrm>
            <a:off x="2566968" y="4236439"/>
            <a:ext cx="0" cy="410139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BE0C6F8-EAAF-6F13-DA25-13A09D1250B4}"/>
              </a:ext>
            </a:extLst>
          </p:cNvPr>
          <p:cNvSpPr txBox="1"/>
          <p:nvPr/>
        </p:nvSpPr>
        <p:spPr>
          <a:xfrm>
            <a:off x="2598853" y="411174"/>
            <a:ext cx="68018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dirty="0">
                <a:latin typeface="Arial" panose="020B0604020202020204" pitchFamily="34" charset="0"/>
                <a:cs typeface="Arial" panose="020B0604020202020204" pitchFamily="34" charset="0"/>
              </a:rPr>
              <a:t>Data selection (rows cont.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5D6311F-B16B-DAE2-2777-AA2595431B77}"/>
              </a:ext>
            </a:extLst>
          </p:cNvPr>
          <p:cNvSpPr txBox="1"/>
          <p:nvPr/>
        </p:nvSpPr>
        <p:spPr>
          <a:xfrm>
            <a:off x="8554808" y="2762915"/>
            <a:ext cx="3120534" cy="2308324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 b="0"/>
            </a:lvl1pPr>
          </a:lstStyle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t is possible to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elect/slice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 part of the dataframe using a colon or/and a comma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ry:</a:t>
            </a:r>
          </a:p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0:3]</a:t>
            </a:r>
          </a:p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0:3, 0:1]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4709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4C1D8E-8767-44D0-909C-BFB5246C3FA7}"/>
              </a:ext>
            </a:extLst>
          </p:cNvPr>
          <p:cNvSpPr txBox="1">
            <a:spLocks/>
          </p:cNvSpPr>
          <p:nvPr/>
        </p:nvSpPr>
        <p:spPr>
          <a:xfrm>
            <a:off x="0" y="2243825"/>
            <a:ext cx="6096000" cy="15407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en-GB" sz="3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mera Expectations</a:t>
            </a:r>
            <a:endParaRPr lang="en-US" sz="3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CD7351FE-90AC-2DEF-6E62-5D20842A8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7" y="6025314"/>
            <a:ext cx="2092699" cy="78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871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2DBA9F1-EFF1-6120-DEB1-FA8A8CE4AE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2DBA9F1-EFF1-6120-DEB1-FA8A8CE4A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640562" y="518864"/>
            <a:ext cx="7114352" cy="825441"/>
            <a:chOff x="2454443" y="441885"/>
            <a:chExt cx="7114352" cy="82544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766942" y="441885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selection (pattern)</a:t>
              </a:r>
            </a:p>
          </p:txBody>
        </p:sp>
      </p:grp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BA3C262-01DC-87F9-6079-298239BC1EFC}"/>
              </a:ext>
            </a:extLst>
          </p:cNvPr>
          <p:cNvCxnSpPr>
            <a:cxnSpLocks/>
          </p:cNvCxnSpPr>
          <p:nvPr/>
        </p:nvCxnSpPr>
        <p:spPr>
          <a:xfrm>
            <a:off x="1016517" y="5047937"/>
            <a:ext cx="413474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Logo, company name&#10;&#10;Description automatically generated">
            <a:extLst>
              <a:ext uri="{FF2B5EF4-FFF2-40B4-BE49-F238E27FC236}">
                <a16:creationId xmlns:a16="http://schemas.microsoft.com/office/drawing/2014/main" id="{D97A13B7-5411-9BD9-E70E-8E90648607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D1302F-11C5-EE58-F61D-6BFA065D75AF}"/>
              </a:ext>
            </a:extLst>
          </p:cNvPr>
          <p:cNvSpPr txBox="1"/>
          <p:nvPr/>
        </p:nvSpPr>
        <p:spPr>
          <a:xfrm>
            <a:off x="647743" y="1699884"/>
            <a:ext cx="778937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str.contains() method is used to search for a particular string pattern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Country'].str.contains('France')</a:t>
            </a:r>
          </a:p>
          <a:p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FC2D86-A34C-2A7B-29FB-B6F52EC0C1AA}"/>
              </a:ext>
            </a:extLst>
          </p:cNvPr>
          <p:cNvSpPr txBox="1"/>
          <p:nvPr/>
        </p:nvSpPr>
        <p:spPr>
          <a:xfrm>
            <a:off x="629266" y="2335051"/>
            <a:ext cx="1070313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1-The function evaluate each rows on the Country column for the presence of the string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'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ranc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'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 If there is no match, it returns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Fals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, if there is a match it returns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ru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The function returns a pandas series object of Boolean values.</a:t>
            </a:r>
          </a:p>
          <a:p>
            <a:pPr>
              <a:lnSpc>
                <a:spcPct val="150000"/>
              </a:lnSpc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3-Selecting the previous command with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]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ill return all data related to the string 'France'. 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1FA802-82B8-22EF-B152-FA29C5F168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67086" y="4132546"/>
            <a:ext cx="3546378" cy="217496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7FA58B2-7CAB-99C8-3B5E-AB998B779608}"/>
              </a:ext>
            </a:extLst>
          </p:cNvPr>
          <p:cNvSpPr/>
          <p:nvPr/>
        </p:nvSpPr>
        <p:spPr>
          <a:xfrm>
            <a:off x="1467086" y="4875844"/>
            <a:ext cx="3546378" cy="344187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B8F9A2C-ABE9-F994-ED16-51FD62143AB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4049"/>
          <a:stretch/>
        </p:blipFill>
        <p:spPr>
          <a:xfrm>
            <a:off x="5810436" y="4132546"/>
            <a:ext cx="1432761" cy="2206590"/>
          </a:xfrm>
          <a:prstGeom prst="rect">
            <a:avLst/>
          </a:prstGeom>
        </p:spPr>
      </p:pic>
      <p:sp>
        <p:nvSpPr>
          <p:cNvPr id="11" name="Down Arrow 10">
            <a:extLst>
              <a:ext uri="{FF2B5EF4-FFF2-40B4-BE49-F238E27FC236}">
                <a16:creationId xmlns:a16="http://schemas.microsoft.com/office/drawing/2014/main" id="{8BCF6A09-7C5C-F9F7-A038-AB0D519B0D82}"/>
              </a:ext>
            </a:extLst>
          </p:cNvPr>
          <p:cNvSpPr/>
          <p:nvPr/>
        </p:nvSpPr>
        <p:spPr>
          <a:xfrm rot="16200000">
            <a:off x="5200783" y="5262516"/>
            <a:ext cx="313150" cy="33493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321527B-028F-BEF7-24B4-0F6FA20935B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70339" y="4934744"/>
            <a:ext cx="3182586" cy="701900"/>
          </a:xfrm>
          <a:prstGeom prst="rect">
            <a:avLst/>
          </a:prstGeom>
        </p:spPr>
      </p:pic>
      <p:sp>
        <p:nvSpPr>
          <p:cNvPr id="31" name="Down Arrow 30">
            <a:extLst>
              <a:ext uri="{FF2B5EF4-FFF2-40B4-BE49-F238E27FC236}">
                <a16:creationId xmlns:a16="http://schemas.microsoft.com/office/drawing/2014/main" id="{361969BB-5796-A2C8-A9C7-0FA2C491F651}"/>
              </a:ext>
            </a:extLst>
          </p:cNvPr>
          <p:cNvSpPr/>
          <p:nvPr/>
        </p:nvSpPr>
        <p:spPr>
          <a:xfrm rot="16200000">
            <a:off x="7387147" y="5262515"/>
            <a:ext cx="313150" cy="33493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3F62BEB-E16B-08FF-9920-47B29C3EAD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3624" y="4132546"/>
            <a:ext cx="437138" cy="43713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5D5E606A-01D8-382D-F94F-8C4E76792CE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86986" y="4132546"/>
            <a:ext cx="437139" cy="4371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2B98209-4604-06EC-0573-A39A377471A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47145" y="4145045"/>
            <a:ext cx="437139" cy="43713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4C2A288-F44B-C8C5-BBB6-658CAB6CE28F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42" b="40009"/>
          <a:stretch/>
        </p:blipFill>
        <p:spPr>
          <a:xfrm>
            <a:off x="7089756" y="6249689"/>
            <a:ext cx="4943751" cy="4371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16145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640562" y="476620"/>
            <a:ext cx="7557893" cy="867685"/>
            <a:chOff x="2454443" y="399641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210483" y="399641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676EA96-4841-5274-7985-83AB0D0647A8}"/>
              </a:ext>
            </a:extLst>
          </p:cNvPr>
          <p:cNvSpPr txBox="1"/>
          <p:nvPr/>
        </p:nvSpPr>
        <p:spPr>
          <a:xfrm>
            <a:off x="400050" y="1805081"/>
            <a:ext cx="603024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Rename a column name: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rename(columns={'previous name': 'new name’})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rename(columns={'Country': 'COUNTRY'})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BF36F9A-90C6-3E7C-9003-7C6B92286256}"/>
              </a:ext>
            </a:extLst>
          </p:cNvPr>
          <p:cNvSpPr txBox="1"/>
          <p:nvPr/>
        </p:nvSpPr>
        <p:spPr>
          <a:xfrm>
            <a:off x="6290987" y="1805081"/>
            <a:ext cx="39074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Reassign a new row index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_index=['UK','FR','MX','CA','PR']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_dataframe= dataframe.copy()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_dataframe.index=new_index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EF7A08-C285-8819-5011-E32087AFE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5855" y="3332179"/>
            <a:ext cx="3595141" cy="216984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2129EDA-34E8-9E88-A1FF-99C40A08B2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3386" y="3145968"/>
            <a:ext cx="3538030" cy="2169849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4FC56B5D-FD40-7CEE-0D47-7538F5449AE3}"/>
              </a:ext>
            </a:extLst>
          </p:cNvPr>
          <p:cNvSpPr/>
          <p:nvPr/>
        </p:nvSpPr>
        <p:spPr>
          <a:xfrm>
            <a:off x="1632274" y="3145967"/>
            <a:ext cx="1373973" cy="398115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545197A-8913-3D4F-EEB8-DAA97D570C95}"/>
              </a:ext>
            </a:extLst>
          </p:cNvPr>
          <p:cNvCxnSpPr>
            <a:cxnSpLocks/>
          </p:cNvCxnSpPr>
          <p:nvPr/>
        </p:nvCxnSpPr>
        <p:spPr>
          <a:xfrm>
            <a:off x="2339937" y="2781931"/>
            <a:ext cx="0" cy="338984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04081B36-F719-2F08-05D7-FD1479626B6B}"/>
              </a:ext>
            </a:extLst>
          </p:cNvPr>
          <p:cNvSpPr/>
          <p:nvPr/>
        </p:nvSpPr>
        <p:spPr>
          <a:xfrm>
            <a:off x="5785855" y="3768770"/>
            <a:ext cx="505132" cy="1625821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291199A-E507-454B-4E12-F725D4BA9356}"/>
              </a:ext>
            </a:extLst>
          </p:cNvPr>
          <p:cNvCxnSpPr>
            <a:cxnSpLocks/>
          </p:cNvCxnSpPr>
          <p:nvPr/>
        </p:nvCxnSpPr>
        <p:spPr>
          <a:xfrm>
            <a:off x="6024669" y="3147273"/>
            <a:ext cx="0" cy="338984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BA61D9D5-31A6-8B46-286B-54C1D1379F79}"/>
              </a:ext>
            </a:extLst>
          </p:cNvPr>
          <p:cNvSpPr txBox="1"/>
          <p:nvPr/>
        </p:nvSpPr>
        <p:spPr>
          <a:xfrm>
            <a:off x="5785855" y="5624816"/>
            <a:ext cx="4569757" cy="1200329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o not erase the initial dataframe, we can create a copy so the change of index will affect only the copy not the original datafram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46CE3FC-DCA0-2FAC-6E92-5D931CA7A6BC}"/>
              </a:ext>
            </a:extLst>
          </p:cNvPr>
          <p:cNvCxnSpPr>
            <a:cxnSpLocks/>
          </p:cNvCxnSpPr>
          <p:nvPr/>
        </p:nvCxnSpPr>
        <p:spPr>
          <a:xfrm>
            <a:off x="5587371" y="6111177"/>
            <a:ext cx="19848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311ED47-F111-CBD6-A04C-EFD087833E4B}"/>
              </a:ext>
            </a:extLst>
          </p:cNvPr>
          <p:cNvCxnSpPr>
            <a:cxnSpLocks/>
          </p:cNvCxnSpPr>
          <p:nvPr/>
        </p:nvCxnSpPr>
        <p:spPr>
          <a:xfrm flipV="1">
            <a:off x="5598129" y="5624816"/>
            <a:ext cx="0" cy="49711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83858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2F695F31-1A02-036F-031B-A2C92C688CFF}"/>
              </a:ext>
            </a:extLst>
          </p:cNvPr>
          <p:cNvSpPr txBox="1"/>
          <p:nvPr/>
        </p:nvSpPr>
        <p:spPr>
          <a:xfrm>
            <a:off x="1251818" y="1765657"/>
            <a:ext cx="41601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rop one column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drop('Population', axis=1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7DBCAB8-68B3-B566-A871-01DAED629E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1953" y="2887228"/>
            <a:ext cx="3747964" cy="22986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E73300A-8D3A-3192-7AB6-F6C1DBCF92AB}"/>
              </a:ext>
            </a:extLst>
          </p:cNvPr>
          <p:cNvSpPr/>
          <p:nvPr/>
        </p:nvSpPr>
        <p:spPr>
          <a:xfrm>
            <a:off x="5286283" y="2910257"/>
            <a:ext cx="1733634" cy="2265251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ight Arrow 3">
            <a:extLst>
              <a:ext uri="{FF2B5EF4-FFF2-40B4-BE49-F238E27FC236}">
                <a16:creationId xmlns:a16="http://schemas.microsoft.com/office/drawing/2014/main" id="{C9B3B1AD-9FA0-70CC-F6CF-610947AFFFA2}"/>
              </a:ext>
            </a:extLst>
          </p:cNvPr>
          <p:cNvSpPr/>
          <p:nvPr/>
        </p:nvSpPr>
        <p:spPr>
          <a:xfrm>
            <a:off x="7218141" y="4035086"/>
            <a:ext cx="546970" cy="3507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EACA3DC-4DC0-3075-926C-CB16F6D9F738}"/>
              </a:ext>
            </a:extLst>
          </p:cNvPr>
          <p:cNvSpPr txBox="1"/>
          <p:nvPr/>
        </p:nvSpPr>
        <p:spPr>
          <a:xfrm>
            <a:off x="964475" y="4149711"/>
            <a:ext cx="19093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rop one row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drop(4, axis=0)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312B2B6-4ED8-4519-01DA-8EB242340ADB}"/>
              </a:ext>
            </a:extLst>
          </p:cNvPr>
          <p:cNvCxnSpPr>
            <a:cxnSpLocks/>
          </p:cNvCxnSpPr>
          <p:nvPr/>
        </p:nvCxnSpPr>
        <p:spPr>
          <a:xfrm>
            <a:off x="6176274" y="2222076"/>
            <a:ext cx="0" cy="654832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CCDDDB2-05E3-4166-4206-41B221AB5B6F}"/>
              </a:ext>
            </a:extLst>
          </p:cNvPr>
          <p:cNvCxnSpPr>
            <a:cxnSpLocks/>
          </p:cNvCxnSpPr>
          <p:nvPr/>
        </p:nvCxnSpPr>
        <p:spPr>
          <a:xfrm flipH="1">
            <a:off x="5286283" y="2222076"/>
            <a:ext cx="889991" cy="0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FF1506B-2AAA-5E81-66A4-FEF793AF9467}"/>
              </a:ext>
            </a:extLst>
          </p:cNvPr>
          <p:cNvCxnSpPr>
            <a:cxnSpLocks/>
          </p:cNvCxnSpPr>
          <p:nvPr/>
        </p:nvCxnSpPr>
        <p:spPr>
          <a:xfrm flipH="1">
            <a:off x="4481706" y="2414605"/>
            <a:ext cx="66808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711E14AF-BAEC-A254-F9F2-1ED58952CCB5}"/>
              </a:ext>
            </a:extLst>
          </p:cNvPr>
          <p:cNvSpPr/>
          <p:nvPr/>
        </p:nvSpPr>
        <p:spPr>
          <a:xfrm>
            <a:off x="3298518" y="4767974"/>
            <a:ext cx="3553218" cy="305067"/>
          </a:xfrm>
          <a:prstGeom prst="rect">
            <a:avLst/>
          </a:prstGeom>
          <a:noFill/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8CB4FDD-37F0-9F2E-695F-5E7CE7A141D4}"/>
              </a:ext>
            </a:extLst>
          </p:cNvPr>
          <p:cNvCxnSpPr>
            <a:cxnSpLocks/>
          </p:cNvCxnSpPr>
          <p:nvPr/>
        </p:nvCxnSpPr>
        <p:spPr>
          <a:xfrm>
            <a:off x="2742786" y="4941167"/>
            <a:ext cx="529167" cy="0"/>
          </a:xfrm>
          <a:prstGeom prst="straightConnector1">
            <a:avLst/>
          </a:prstGeom>
          <a:ln w="38100"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3E94CA7-AAE3-C765-644E-FD10FB66F587}"/>
              </a:ext>
            </a:extLst>
          </p:cNvPr>
          <p:cNvCxnSpPr>
            <a:cxnSpLocks/>
          </p:cNvCxnSpPr>
          <p:nvPr/>
        </p:nvCxnSpPr>
        <p:spPr>
          <a:xfrm flipH="1">
            <a:off x="1440599" y="5073041"/>
            <a:ext cx="66808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B6FF3BC-65D9-2FDD-E2B2-41F5CDEEB35E}"/>
              </a:ext>
            </a:extLst>
          </p:cNvPr>
          <p:cNvSpPr txBox="1"/>
          <p:nvPr/>
        </p:nvSpPr>
        <p:spPr>
          <a:xfrm>
            <a:off x="4378222" y="5566007"/>
            <a:ext cx="3435556" cy="923330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 b="0"/>
            </a:lvl1pPr>
          </a:lstStyle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xis=0 corresponds to the rows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xis=1 corresponds to the column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42B077E-1819-781D-D1BF-4C9ED331B36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1659" b="15568"/>
          <a:stretch/>
        </p:blipFill>
        <p:spPr>
          <a:xfrm>
            <a:off x="8285156" y="3024177"/>
            <a:ext cx="2186602" cy="1940753"/>
          </a:xfrm>
          <a:prstGeom prst="rect">
            <a:avLst/>
          </a:prstGeom>
        </p:spPr>
      </p:pic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BD8FEE1B-7B11-1AAC-42A1-E36D7E4DF799}"/>
              </a:ext>
            </a:extLst>
          </p:cNvPr>
          <p:cNvCxnSpPr>
            <a:cxnSpLocks/>
          </p:cNvCxnSpPr>
          <p:nvPr/>
        </p:nvCxnSpPr>
        <p:spPr>
          <a:xfrm>
            <a:off x="8793269" y="2876908"/>
            <a:ext cx="1678489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6A1D7DF6-4F42-6004-3978-C42C38B70CF3}"/>
              </a:ext>
            </a:extLst>
          </p:cNvPr>
          <p:cNvSpPr txBox="1"/>
          <p:nvPr/>
        </p:nvSpPr>
        <p:spPr>
          <a:xfrm>
            <a:off x="9248690" y="2537131"/>
            <a:ext cx="8579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xis=1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F7F87B7-9F71-4D64-AE33-8B49825CE98F}"/>
              </a:ext>
            </a:extLst>
          </p:cNvPr>
          <p:cNvCxnSpPr>
            <a:cxnSpLocks/>
          </p:cNvCxnSpPr>
          <p:nvPr/>
        </p:nvCxnSpPr>
        <p:spPr>
          <a:xfrm>
            <a:off x="8175415" y="3479738"/>
            <a:ext cx="0" cy="146142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1F2B92E-8370-C6CE-E455-80D57333BC0E}"/>
              </a:ext>
            </a:extLst>
          </p:cNvPr>
          <p:cNvSpPr txBox="1"/>
          <p:nvPr/>
        </p:nvSpPr>
        <p:spPr>
          <a:xfrm rot="16200000">
            <a:off x="7566656" y="4025786"/>
            <a:ext cx="8579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xis=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B9791A8-3512-A58B-A8E2-161E1E0534CE}"/>
              </a:ext>
            </a:extLst>
          </p:cNvPr>
          <p:cNvSpPr txBox="1"/>
          <p:nvPr/>
        </p:nvSpPr>
        <p:spPr>
          <a:xfrm>
            <a:off x="1212986" y="5437703"/>
            <a:ext cx="1351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fault axis</a:t>
            </a:r>
          </a:p>
        </p:txBody>
      </p:sp>
      <p:sp>
        <p:nvSpPr>
          <p:cNvPr id="6" name="Down Arrow 5">
            <a:extLst>
              <a:ext uri="{FF2B5EF4-FFF2-40B4-BE49-F238E27FC236}">
                <a16:creationId xmlns:a16="http://schemas.microsoft.com/office/drawing/2014/main" id="{4FF4C878-3F33-1626-0967-726B0A339687}"/>
              </a:ext>
            </a:extLst>
          </p:cNvPr>
          <p:cNvSpPr/>
          <p:nvPr/>
        </p:nvSpPr>
        <p:spPr>
          <a:xfrm>
            <a:off x="1766428" y="5209970"/>
            <a:ext cx="174405" cy="22773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7220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86769A0F-B54E-31D2-7E37-81D5FE6C6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86769A0F-B54E-31D2-7E37-81D5FE6C6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CCDDDB2-05E3-4166-4206-41B221AB5B6F}"/>
              </a:ext>
            </a:extLst>
          </p:cNvPr>
          <p:cNvCxnSpPr>
            <a:cxnSpLocks/>
          </p:cNvCxnSpPr>
          <p:nvPr/>
        </p:nvCxnSpPr>
        <p:spPr>
          <a:xfrm>
            <a:off x="1269559" y="2828676"/>
            <a:ext cx="0" cy="1042279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DC9C8D2A-AFA2-E465-9648-3645D6F654C3}"/>
              </a:ext>
            </a:extLst>
          </p:cNvPr>
          <p:cNvSpPr/>
          <p:nvPr/>
        </p:nvSpPr>
        <p:spPr>
          <a:xfrm>
            <a:off x="422405" y="2446900"/>
            <a:ext cx="62697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Country'].str.replace('United Kingdom', 'UK'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45AFDD-919A-4F91-3A63-94F19D0EB8A6}"/>
              </a:ext>
            </a:extLst>
          </p:cNvPr>
          <p:cNvSpPr txBox="1"/>
          <p:nvPr/>
        </p:nvSpPr>
        <p:spPr>
          <a:xfrm>
            <a:off x="377563" y="1619246"/>
            <a:ext cx="4006290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str.replace('old value', 'new value'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E3DA0DE-3BD9-B383-4DCB-2AED25ECA7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6790" y="3274554"/>
            <a:ext cx="3793751" cy="23241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AAD963-2622-4DF1-EBEF-0A715490FE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4375" y="3339650"/>
            <a:ext cx="3669455" cy="2275285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C595349F-6282-824D-092E-6888E117B5C2}"/>
              </a:ext>
            </a:extLst>
          </p:cNvPr>
          <p:cNvSpPr/>
          <p:nvPr/>
        </p:nvSpPr>
        <p:spPr>
          <a:xfrm>
            <a:off x="2156415" y="3685761"/>
            <a:ext cx="1686380" cy="376953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2C97D05-17FD-9122-1A99-D5D6CAAC239A}"/>
              </a:ext>
            </a:extLst>
          </p:cNvPr>
          <p:cNvSpPr/>
          <p:nvPr/>
        </p:nvSpPr>
        <p:spPr>
          <a:xfrm>
            <a:off x="6957107" y="3717187"/>
            <a:ext cx="1608159" cy="376953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312B2B6-4ED8-4519-01DA-8EB242340ADB}"/>
              </a:ext>
            </a:extLst>
          </p:cNvPr>
          <p:cNvCxnSpPr>
            <a:cxnSpLocks/>
          </p:cNvCxnSpPr>
          <p:nvPr/>
        </p:nvCxnSpPr>
        <p:spPr>
          <a:xfrm flipV="1">
            <a:off x="1261641" y="3870955"/>
            <a:ext cx="894774" cy="3282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own Arrow 22">
            <a:extLst>
              <a:ext uri="{FF2B5EF4-FFF2-40B4-BE49-F238E27FC236}">
                <a16:creationId xmlns:a16="http://schemas.microsoft.com/office/drawing/2014/main" id="{612C9418-10B1-1D38-983A-2C792536E6D4}"/>
              </a:ext>
            </a:extLst>
          </p:cNvPr>
          <p:cNvSpPr/>
          <p:nvPr/>
        </p:nvSpPr>
        <p:spPr>
          <a:xfrm rot="16200000">
            <a:off x="5798916" y="4436604"/>
            <a:ext cx="297084" cy="378464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50663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545901"/>
            <a:ext cx="7095305" cy="773427"/>
            <a:chOff x="3010828" y="468922"/>
            <a:chExt cx="7095305" cy="773427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304280" y="468922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Handling missing data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D258B0F-CF29-1C9A-28D8-8300A38509F4}"/>
              </a:ext>
            </a:extLst>
          </p:cNvPr>
          <p:cNvSpPr txBox="1"/>
          <p:nvPr/>
        </p:nvSpPr>
        <p:spPr>
          <a:xfrm>
            <a:off x="490536" y="1694789"/>
            <a:ext cx="109961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pending on your initial problem, you might want to replace missing values by a zero value, a median/mode of the column or removing them.</a:t>
            </a:r>
          </a:p>
        </p:txBody>
      </p:sp>
      <p:graphicFrame>
        <p:nvGraphicFramePr>
          <p:cNvPr id="18" name="Table 26">
            <a:extLst>
              <a:ext uri="{FF2B5EF4-FFF2-40B4-BE49-F238E27FC236}">
                <a16:creationId xmlns:a16="http://schemas.microsoft.com/office/drawing/2014/main" id="{2EF7A808-2094-AE23-B104-5E716D71A6F6}"/>
              </a:ext>
            </a:extLst>
          </p:cNvPr>
          <p:cNvGraphicFramePr>
            <a:graphicFrameLocks noGrp="1"/>
          </p:cNvGraphicFramePr>
          <p:nvPr/>
        </p:nvGraphicFramePr>
        <p:xfrm>
          <a:off x="4448689" y="3114548"/>
          <a:ext cx="3297010" cy="226891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648505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648505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Country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Population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United Kingdom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sz="1600" dirty="0"/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France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sz="1600" dirty="0"/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Mexico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sz="1600" dirty="0"/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Canada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6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Peru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N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19" name="Table 12">
            <a:extLst>
              <a:ext uri="{FF2B5EF4-FFF2-40B4-BE49-F238E27FC236}">
                <a16:creationId xmlns:a16="http://schemas.microsoft.com/office/drawing/2014/main" id="{FBFCC908-7361-A3FC-3293-7722FEC152B0}"/>
              </a:ext>
            </a:extLst>
          </p:cNvPr>
          <p:cNvGraphicFramePr>
            <a:graphicFrameLocks noGrp="1"/>
          </p:cNvGraphicFramePr>
          <p:nvPr/>
        </p:nvGraphicFramePr>
        <p:xfrm>
          <a:off x="3950731" y="3539924"/>
          <a:ext cx="408365" cy="184354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08365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0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1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2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3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4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571B71FE-9A14-88D6-1AF9-BC260DEA999D}"/>
              </a:ext>
            </a:extLst>
          </p:cNvPr>
          <p:cNvSpPr/>
          <p:nvPr/>
        </p:nvSpPr>
        <p:spPr>
          <a:xfrm>
            <a:off x="6388305" y="5023467"/>
            <a:ext cx="1083012" cy="360000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879670-7285-CF67-DD5F-33521856C273}"/>
              </a:ext>
            </a:extLst>
          </p:cNvPr>
          <p:cNvSpPr txBox="1"/>
          <p:nvPr/>
        </p:nvSpPr>
        <p:spPr>
          <a:xfrm>
            <a:off x="3196947" y="5693860"/>
            <a:ext cx="63209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Population']=dataframe['Population'].fillna(0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ECC1F77-83D6-FAD5-815B-808A5A88B262}"/>
              </a:ext>
            </a:extLst>
          </p:cNvPr>
          <p:cNvSpPr txBox="1"/>
          <p:nvPr/>
        </p:nvSpPr>
        <p:spPr>
          <a:xfrm>
            <a:off x="490536" y="2576427"/>
            <a:ext cx="5327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fillna()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unction is used to replace missing values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DD001B-5B9B-0718-04DF-24B1DED75D1F}"/>
              </a:ext>
            </a:extLst>
          </p:cNvPr>
          <p:cNvSpPr txBox="1"/>
          <p:nvPr/>
        </p:nvSpPr>
        <p:spPr>
          <a:xfrm>
            <a:off x="8376835" y="5023467"/>
            <a:ext cx="2210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NaN: Not A Number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CB1CE1E-8D1C-381C-3234-0E05CE404881}"/>
              </a:ext>
            </a:extLst>
          </p:cNvPr>
          <p:cNvCxnSpPr>
            <a:cxnSpLocks/>
          </p:cNvCxnSpPr>
          <p:nvPr/>
        </p:nvCxnSpPr>
        <p:spPr>
          <a:xfrm flipH="1">
            <a:off x="7873529" y="5218664"/>
            <a:ext cx="492155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D631790-24FC-FB34-EAD3-2FF451B7FC35}"/>
              </a:ext>
            </a:extLst>
          </p:cNvPr>
          <p:cNvSpPr txBox="1"/>
          <p:nvPr/>
        </p:nvSpPr>
        <p:spPr>
          <a:xfrm>
            <a:off x="8806160" y="6385168"/>
            <a:ext cx="26805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an be any numerical valu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03E142A-722F-5F07-C9E0-E7A60B74673E}"/>
              </a:ext>
            </a:extLst>
          </p:cNvPr>
          <p:cNvCxnSpPr/>
          <p:nvPr/>
        </p:nvCxnSpPr>
        <p:spPr>
          <a:xfrm>
            <a:off x="9115408" y="6077172"/>
            <a:ext cx="217571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FE1E480-F2E2-5462-3456-F5DF5297EE0C}"/>
              </a:ext>
            </a:extLst>
          </p:cNvPr>
          <p:cNvCxnSpPr>
            <a:cxnSpLocks/>
          </p:cNvCxnSpPr>
          <p:nvPr/>
        </p:nvCxnSpPr>
        <p:spPr>
          <a:xfrm flipV="1">
            <a:off x="9224193" y="6132909"/>
            <a:ext cx="0" cy="28970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61403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49E313-2765-C96B-9A52-6650DB1119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hecking Missing Valu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1495F9-7219-A822-4E81-52929B962AD8}"/>
              </a:ext>
            </a:extLst>
          </p:cNvPr>
          <p:cNvSpPr txBox="1"/>
          <p:nvPr/>
        </p:nvSpPr>
        <p:spPr>
          <a:xfrm>
            <a:off x="358588" y="1694329"/>
            <a:ext cx="1023769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Check if there are missing values in any rows:</a:t>
            </a:r>
          </a:p>
          <a:p>
            <a:pPr algn="ctr"/>
            <a:r>
              <a:rPr lang="en-GB" sz="2800" dirty="0" err="1">
                <a:highlight>
                  <a:srgbClr val="FFFF00"/>
                </a:highlight>
              </a:rPr>
              <a:t>df.isnull</a:t>
            </a:r>
            <a:r>
              <a:rPr lang="en-GB" sz="2800" dirty="0">
                <a:highlight>
                  <a:srgbClr val="FFFF00"/>
                </a:highlight>
              </a:rPr>
              <a:t>().</a:t>
            </a:r>
            <a:r>
              <a:rPr lang="en-GB" sz="2800" dirty="0" err="1">
                <a:highlight>
                  <a:srgbClr val="FFFF00"/>
                </a:highlight>
              </a:rPr>
              <a:t>values.any</a:t>
            </a:r>
            <a:r>
              <a:rPr lang="en-GB" sz="2800" dirty="0">
                <a:highlight>
                  <a:srgbClr val="FFFF00"/>
                </a:highlight>
              </a:rPr>
              <a:t>(axis=1)</a:t>
            </a:r>
          </a:p>
          <a:p>
            <a:r>
              <a:rPr lang="en-GB" sz="2800" dirty="0"/>
              <a:t>Check total missing values in each column:</a:t>
            </a:r>
          </a:p>
          <a:p>
            <a:pPr algn="ctr"/>
            <a:r>
              <a:rPr lang="en-GB" sz="2800" dirty="0" err="1">
                <a:highlight>
                  <a:srgbClr val="FFFF00"/>
                </a:highlight>
              </a:rPr>
              <a:t>df.isnull</a:t>
            </a:r>
            <a:r>
              <a:rPr lang="en-GB" sz="2800" dirty="0">
                <a:highlight>
                  <a:srgbClr val="FFFF00"/>
                </a:highlight>
              </a:rPr>
              <a:t>().sum()</a:t>
            </a:r>
          </a:p>
          <a:p>
            <a:r>
              <a:rPr lang="en-GB" sz="2800" dirty="0"/>
              <a:t>Check total missing values in </a:t>
            </a:r>
            <a:r>
              <a:rPr lang="en-GB" sz="2800" dirty="0" err="1"/>
              <a:t>dataframe</a:t>
            </a:r>
            <a:r>
              <a:rPr lang="en-GB" sz="2800" dirty="0"/>
              <a:t>:</a:t>
            </a:r>
          </a:p>
          <a:p>
            <a:pPr algn="ctr"/>
            <a:r>
              <a:rPr lang="en-GB" sz="2800" dirty="0" err="1">
                <a:highlight>
                  <a:srgbClr val="FFFF00"/>
                </a:highlight>
              </a:rPr>
              <a:t>df.isnull</a:t>
            </a:r>
            <a:r>
              <a:rPr lang="en-GB" sz="2800" dirty="0">
                <a:highlight>
                  <a:srgbClr val="FFFF00"/>
                </a:highlight>
              </a:rPr>
              <a:t>().sum().</a:t>
            </a:r>
            <a:r>
              <a:rPr lang="en-GB" sz="2800">
                <a:highlight>
                  <a:srgbClr val="FFFF00"/>
                </a:highlight>
              </a:rPr>
              <a:t>sum()</a:t>
            </a:r>
            <a:endParaRPr lang="en-GB" sz="28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37636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10087"/>
            <a:ext cx="7677196" cy="909241"/>
            <a:chOff x="3010828" y="333108"/>
            <a:chExt cx="7677196" cy="90924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886171" y="333108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cleaning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C7D9638-1EAC-9A02-E605-38B64D49B4AB}"/>
              </a:ext>
            </a:extLst>
          </p:cNvPr>
          <p:cNvSpPr txBox="1"/>
          <p:nvPr/>
        </p:nvSpPr>
        <p:spPr>
          <a:xfrm>
            <a:off x="2188947" y="2040385"/>
            <a:ext cx="950338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Remove missing values (NaN) from the dataset 	</a:t>
            </a:r>
            <a:endParaRPr lang="en-GB" sz="20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Value replacement: perform the average of other values or using the mod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heck info(): it will give you the count of non-null values, hence null values present in the dataset (null values in pandas are missing values which corresponds to empty rows with no data)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Data uniformity: change type of data/rename variables names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Detect missing values: isnull() function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Drop unnecessary columns with drop() function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ransform your numbers: absolute numb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Remove outliers (can be seen when plotting the data using a box plot 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8BD650B-14A9-89E2-8AAC-23D9901B195A}"/>
              </a:ext>
            </a:extLst>
          </p:cNvPr>
          <p:cNvSpPr txBox="1"/>
          <p:nvPr/>
        </p:nvSpPr>
        <p:spPr>
          <a:xfrm>
            <a:off x="966282" y="2052260"/>
            <a:ext cx="118333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Check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60B0DE-DB0A-7FE7-4B39-27BA529C36C9}"/>
              </a:ext>
            </a:extLst>
          </p:cNvPr>
          <p:cNvSpPr txBox="1"/>
          <p:nvPr/>
        </p:nvSpPr>
        <p:spPr>
          <a:xfrm>
            <a:off x="6279487" y="6367926"/>
            <a:ext cx="38443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 to make proper analyses </a:t>
            </a:r>
          </a:p>
        </p:txBody>
      </p:sp>
      <p:sp>
        <p:nvSpPr>
          <p:cNvPr id="6" name="Bent Up Arrow 5">
            <a:extLst>
              <a:ext uri="{FF2B5EF4-FFF2-40B4-BE49-F238E27FC236}">
                <a16:creationId xmlns:a16="http://schemas.microsoft.com/office/drawing/2014/main" id="{042E4C92-059A-2951-2243-E28587548B38}"/>
              </a:ext>
            </a:extLst>
          </p:cNvPr>
          <p:cNvSpPr/>
          <p:nvPr/>
        </p:nvSpPr>
        <p:spPr>
          <a:xfrm rot="5400000">
            <a:off x="5647844" y="6298140"/>
            <a:ext cx="458591" cy="437720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9785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5" name="TextBox 31">
            <a:extLst>
              <a:ext uri="{FF2B5EF4-FFF2-40B4-BE49-F238E27FC236}">
                <a16:creationId xmlns:a16="http://schemas.microsoft.com/office/drawing/2014/main" id="{00773A60-ABEA-4548-B2C1-79982AF497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358" y="587121"/>
            <a:ext cx="879858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F4E4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ask 1</a:t>
            </a:r>
            <a:endParaRPr kumimoji="0" lang="en-ID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00B1B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915CD6-19CD-F348-82BC-4487C30B5E2E}"/>
              </a:ext>
            </a:extLst>
          </p:cNvPr>
          <p:cNvSpPr txBox="1"/>
          <p:nvPr/>
        </p:nvSpPr>
        <p:spPr>
          <a:xfrm>
            <a:off x="704358" y="1546508"/>
            <a:ext cx="1118284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Use the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ales.csv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file, to answer the following questions. You may need to look at the Pandas documentation to help y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port the Sales data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the information about the dataframe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heck if there are missing values and if they need to be cleaned out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t 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the first</a:t>
            </a: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wo columns as index (do some research to know how to do that)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first 3 land last 3 rows of the sales dataframe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the statistical information about the dataframe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the sales column as a series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sales and profit column as a dataframe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the data for Southern Asia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Sales and Profit data for Western Africa, Southern Africa, and North Africa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Markets with Sales above 300,000</a:t>
            </a:r>
          </a:p>
          <a:p>
            <a:pPr marL="457200" indent="-457200">
              <a:buFont typeface="+mj-lt"/>
              <a:buAutoNum type="arabicPeriod"/>
              <a:defRPr/>
            </a:pPr>
            <a:endParaRPr lang="en-GB" sz="2000" b="0" dirty="0">
              <a:solidFill>
                <a:srgbClr val="D4D4D4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77060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4C1D8E-8767-44D0-909C-BFB5246C3FA7}"/>
              </a:ext>
            </a:extLst>
          </p:cNvPr>
          <p:cNvSpPr txBox="1">
            <a:spLocks/>
          </p:cNvSpPr>
          <p:nvPr/>
        </p:nvSpPr>
        <p:spPr>
          <a:xfrm>
            <a:off x="269984" y="2243825"/>
            <a:ext cx="5706611" cy="15407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en-GB" sz="3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ta Analysis with Python Part 2</a:t>
            </a:r>
            <a:endParaRPr lang="en-US" sz="3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EFEAF82-848A-47FB-811B-9F1AAF85ADB5}"/>
              </a:ext>
            </a:extLst>
          </p:cNvPr>
          <p:cNvSpPr txBox="1">
            <a:spLocks/>
          </p:cNvSpPr>
          <p:nvPr/>
        </p:nvSpPr>
        <p:spPr>
          <a:xfrm>
            <a:off x="269984" y="302877"/>
            <a:ext cx="8075229" cy="6306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 sz="3600" dirty="0"/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CD7351FE-90AC-2DEF-6E62-5D20842A8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7" y="6025314"/>
            <a:ext cx="2092699" cy="78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3759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3A585D8-7632-4D65-A198-FA1F0CC906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227" y="393403"/>
            <a:ext cx="5051093" cy="1145997"/>
          </a:xfrm>
        </p:spPr>
        <p:txBody>
          <a:bodyPr>
            <a:normAutofit/>
          </a:bodyPr>
          <a:lstStyle/>
          <a:p>
            <a:r>
              <a:rPr lang="en-GB" sz="4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bjectives</a:t>
            </a:r>
            <a:endParaRPr lang="en-US" sz="4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764009C-C728-4272-B6C3-7BEB6621A332}"/>
              </a:ext>
            </a:extLst>
          </p:cNvPr>
          <p:cNvSpPr txBox="1">
            <a:spLocks/>
          </p:cNvSpPr>
          <p:nvPr/>
        </p:nvSpPr>
        <p:spPr>
          <a:xfrm>
            <a:off x="228123" y="954793"/>
            <a:ext cx="7271463" cy="4476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>
              <a:buFont typeface="Arial" panose="020B0604020202020204" pitchFamily="34" charset="0"/>
              <a:buChar char="•"/>
            </a:pPr>
            <a:r>
              <a:rPr lang="en-GB" sz="3600" b="0" i="0" dirty="0">
                <a:effectLst/>
                <a:latin typeface="+mn-lt"/>
                <a:ea typeface="Open Sans Light"/>
                <a:cs typeface="Open Sans Light"/>
              </a:rPr>
              <a:t>How to filter data using condition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How to perform calculation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Grouping dat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JSON data</a:t>
            </a:r>
          </a:p>
        </p:txBody>
      </p:sp>
    </p:spTree>
    <p:extLst>
      <p:ext uri="{BB962C8B-B14F-4D97-AF65-F5344CB8AC3E}">
        <p14:creationId xmlns:p14="http://schemas.microsoft.com/office/powerpoint/2010/main" val="1200340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069E0F-9C2D-4BBE-A579-EA1EFA5789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Before we start… Please have your</a:t>
            </a:r>
            <a:br>
              <a:rPr lang="en-GB" sz="2000" dirty="0"/>
            </a:br>
            <a:r>
              <a:rPr lang="en-GB" sz="2000" dirty="0"/>
              <a:t>camera switched on.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AC673ED2-CA28-4A00-B9F6-A4FC890756D5}"/>
              </a:ext>
            </a:extLst>
          </p:cNvPr>
          <p:cNvSpPr txBox="1">
            <a:spLocks/>
          </p:cNvSpPr>
          <p:nvPr/>
        </p:nvSpPr>
        <p:spPr>
          <a:xfrm>
            <a:off x="8182466" y="390616"/>
            <a:ext cx="3991180" cy="3436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000" dirty="0"/>
              <a:t>Camera Expectat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AE942D8-3CC4-547A-3DAF-5FC0A9CDD632}"/>
              </a:ext>
            </a:extLst>
          </p:cNvPr>
          <p:cNvSpPr txBox="1">
            <a:spLocks/>
          </p:cNvSpPr>
          <p:nvPr/>
        </p:nvSpPr>
        <p:spPr>
          <a:xfrm>
            <a:off x="-70021" y="2539913"/>
            <a:ext cx="12262022" cy="115317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b="1" dirty="0">
                <a:solidFill>
                  <a:srgbClr val="2F7E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his is a </a:t>
            </a:r>
            <a:r>
              <a:rPr lang="en-GB" b="1" u="sng" dirty="0">
                <a:solidFill>
                  <a:srgbClr val="2F7E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datory requirement </a:t>
            </a:r>
            <a:r>
              <a:rPr lang="en-GB" b="1" dirty="0">
                <a:solidFill>
                  <a:srgbClr val="2F7E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for the duration of the course.</a:t>
            </a:r>
            <a:r>
              <a:rPr lang="en-GB" dirty="0">
                <a:solidFill>
                  <a:srgbClr val="2F7E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FE3444-BF16-2C34-13BD-4AE1E39498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9909" y="1168161"/>
            <a:ext cx="1321058" cy="115317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98D8376B-4A6B-2E1A-1801-874CFD0BF9E3}"/>
              </a:ext>
            </a:extLst>
          </p:cNvPr>
          <p:cNvGrpSpPr/>
          <p:nvPr/>
        </p:nvGrpSpPr>
        <p:grpSpPr>
          <a:xfrm>
            <a:off x="418891" y="1356264"/>
            <a:ext cx="6006622" cy="885667"/>
            <a:chOff x="5465686" y="1996240"/>
            <a:chExt cx="5429973" cy="68358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A11C599-D194-37E9-BD3E-BBD60398C3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65686" y="2019493"/>
              <a:ext cx="5429973" cy="637077"/>
            </a:xfrm>
            <a:prstGeom prst="rect">
              <a:avLst/>
            </a:prstGeom>
          </p:spPr>
        </p:pic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4A8A3A8-DED2-B2C8-6CC6-C2EF44735659}"/>
                </a:ext>
              </a:extLst>
            </p:cNvPr>
            <p:cNvSpPr/>
            <p:nvPr/>
          </p:nvSpPr>
          <p:spPr>
            <a:xfrm>
              <a:off x="8125758" y="1996240"/>
              <a:ext cx="648070" cy="683581"/>
            </a:xfrm>
            <a:prstGeom prst="ellipse">
              <a:avLst/>
            </a:prstGeom>
            <a:noFill/>
            <a:ln w="762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859D1D3B-B280-F5C6-ADD6-D7774D9CF8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278" y="3057656"/>
            <a:ext cx="1627728" cy="170802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DC82C1A-389D-95F9-F007-793226021009}"/>
              </a:ext>
            </a:extLst>
          </p:cNvPr>
          <p:cNvSpPr txBox="1"/>
          <p:nvPr/>
        </p:nvSpPr>
        <p:spPr>
          <a:xfrm>
            <a:off x="1912039" y="3122935"/>
            <a:ext cx="5265303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You are studying a </a:t>
            </a:r>
            <a:r>
              <a:rPr lang="en-GB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gulated qualification</a:t>
            </a:r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your tutor needs to see that it is the right person participating throughout the course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302C77-CB8D-2868-D32B-0C27D4BB5BF2}"/>
              </a:ext>
            </a:extLst>
          </p:cNvPr>
          <p:cNvSpPr txBox="1"/>
          <p:nvPr/>
        </p:nvSpPr>
        <p:spPr>
          <a:xfrm>
            <a:off x="2539418" y="5228174"/>
            <a:ext cx="9061372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nline learning is to be </a:t>
            </a:r>
            <a:r>
              <a:rPr lang="en-GB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eated the same way as a classroom learning</a:t>
            </a:r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you must be physically visible to interact with your tutor and other learners in order to create an engaging group dynamic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C7E9A4-0AFC-A7CD-341F-580343244AB9}"/>
              </a:ext>
            </a:extLst>
          </p:cNvPr>
          <p:cNvSpPr txBox="1"/>
          <p:nvPr/>
        </p:nvSpPr>
        <p:spPr>
          <a:xfrm>
            <a:off x="6504496" y="4145872"/>
            <a:ext cx="5438452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ur job is </a:t>
            </a:r>
            <a:r>
              <a:rPr lang="en-GB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o prepare you for work </a:t>
            </a:r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 an age where in almost any job there is likely to be at least some aspect of remote engagement with </a:t>
            </a:r>
            <a:r>
              <a:rPr lang="en-GB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your</a:t>
            </a:r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mployer. </a:t>
            </a:r>
          </a:p>
        </p:txBody>
      </p:sp>
    </p:spTree>
    <p:extLst>
      <p:ext uri="{BB962C8B-B14F-4D97-AF65-F5344CB8AC3E}">
        <p14:creationId xmlns:p14="http://schemas.microsoft.com/office/powerpoint/2010/main" val="1366797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F96EC-4C08-D9B1-6931-7C648FD94A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Jupyter notebook Scri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0B742D-FB37-0F3A-6348-BD6A27F07167}"/>
              </a:ext>
            </a:extLst>
          </p:cNvPr>
          <p:cNvSpPr txBox="1"/>
          <p:nvPr/>
        </p:nvSpPr>
        <p:spPr>
          <a:xfrm>
            <a:off x="796833" y="2286000"/>
            <a:ext cx="6766561" cy="1466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400" dirty="0"/>
              <a:t>Follow along with your Instructor using the Jupyter notebook script named </a:t>
            </a:r>
            <a:r>
              <a:rPr lang="en-GB" sz="2400" b="1" dirty="0"/>
              <a:t>pandas-script_part2.ipynb</a:t>
            </a:r>
          </a:p>
        </p:txBody>
      </p:sp>
      <p:pic>
        <p:nvPicPr>
          <p:cNvPr id="5" name="Picture 4" descr="A logo with orange and grey circles&#10;&#10;Description automatically generated">
            <a:extLst>
              <a:ext uri="{FF2B5EF4-FFF2-40B4-BE49-F238E27FC236}">
                <a16:creationId xmlns:a16="http://schemas.microsoft.com/office/drawing/2014/main" id="{E5466F5D-BD38-B9F1-8546-33CA784DD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296" y="1765009"/>
            <a:ext cx="2164624" cy="250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2857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1068D1B-BD43-D565-7937-260E913BAC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1068D1B-BD43-D565-7937-260E913BA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07D9642-BBFC-0DD2-8614-7A508F099CED}"/>
              </a:ext>
            </a:extLst>
          </p:cNvPr>
          <p:cNvSpPr txBox="1"/>
          <p:nvPr/>
        </p:nvSpPr>
        <p:spPr>
          <a:xfrm>
            <a:off x="4675923" y="6482673"/>
            <a:ext cx="7292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*Number of people registered as unemployed on Feb 2022 (might not reflect true number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29A857-0986-7AEC-4BA4-23D3AA30385A}"/>
              </a:ext>
            </a:extLst>
          </p:cNvPr>
          <p:cNvSpPr txBox="1"/>
          <p:nvPr/>
        </p:nvSpPr>
        <p:spPr>
          <a:xfrm>
            <a:off x="618896" y="1575531"/>
            <a:ext cx="1402948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B5B0458-6EC9-691E-B203-CA4CB236B210}"/>
              </a:ext>
            </a:extLst>
          </p:cNvPr>
          <p:cNvSpPr txBox="1"/>
          <p:nvPr/>
        </p:nvSpPr>
        <p:spPr>
          <a:xfrm>
            <a:off x="1232063" y="2415667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sum() metho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E96569D-510D-D809-D2E3-4BA8A4A13C7B}"/>
              </a:ext>
            </a:extLst>
          </p:cNvPr>
          <p:cNvSpPr txBox="1"/>
          <p:nvPr/>
        </p:nvSpPr>
        <p:spPr>
          <a:xfrm>
            <a:off x="1164056" y="4015604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mean() method</a:t>
            </a:r>
          </a:p>
        </p:txBody>
      </p:sp>
      <p:pic>
        <p:nvPicPr>
          <p:cNvPr id="8" name="Picture 7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49D0D63-5A94-BEF6-E4FF-5928371F44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655" y="4479629"/>
            <a:ext cx="3508037" cy="9801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4827F9B-E839-74FD-BDE0-5FEF77CE2B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655" y="2841856"/>
            <a:ext cx="3508037" cy="10276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5F252AD-30FF-FFEF-B6FC-5077C0F9624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38225" y="2827898"/>
            <a:ext cx="5567778" cy="249339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949AE32C-2013-2843-0C8F-CA11A8B3C179}"/>
              </a:ext>
            </a:extLst>
          </p:cNvPr>
          <p:cNvSpPr/>
          <p:nvPr/>
        </p:nvSpPr>
        <p:spPr>
          <a:xfrm>
            <a:off x="9699853" y="3466060"/>
            <a:ext cx="1230689" cy="1767529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4949370-6274-6720-DA79-494EA7D03BCE}"/>
              </a:ext>
            </a:extLst>
          </p:cNvPr>
          <p:cNvSpPr/>
          <p:nvPr/>
        </p:nvSpPr>
        <p:spPr>
          <a:xfrm>
            <a:off x="563872" y="1977069"/>
            <a:ext cx="34932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mport the fil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atacensus2.csv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C2C1EA5-F4E3-46E3-2DD6-B61D49FDB06B}"/>
              </a:ext>
            </a:extLst>
          </p:cNvPr>
          <p:cNvCxnSpPr>
            <a:cxnSpLocks/>
          </p:cNvCxnSpPr>
          <p:nvPr/>
        </p:nvCxnSpPr>
        <p:spPr>
          <a:xfrm>
            <a:off x="263047" y="2179499"/>
            <a:ext cx="30082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8723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1068D1B-BD43-D565-7937-260E913BAC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1068D1B-BD43-D565-7937-260E913BA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A29A857-0986-7AEC-4BA4-23D3AA30385A}"/>
              </a:ext>
            </a:extLst>
          </p:cNvPr>
          <p:cNvSpPr txBox="1"/>
          <p:nvPr/>
        </p:nvSpPr>
        <p:spPr>
          <a:xfrm>
            <a:off x="618896" y="1575531"/>
            <a:ext cx="2018501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Operations cont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5940C82A-A5B2-9F69-8FE1-1D32D1145F56}"/>
                  </a:ext>
                </a:extLst>
              </p:cNvPr>
              <p:cNvSpPr txBox="1"/>
              <p:nvPr/>
            </p:nvSpPr>
            <p:spPr>
              <a:xfrm>
                <a:off x="533834" y="2256454"/>
                <a:ext cx="5877723" cy="24622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6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reate a new column and calculate the % of unemployed person: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-Code in multiple steps</a:t>
                </a:r>
              </a:p>
              <a:p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1-Create a variable that contains the ratio of Unemployed persons</a:t>
                </a:r>
                <a14:m>
                  <m:oMath xmlns:m="http://schemas.openxmlformats.org/officeDocument/2006/math">
                    <m:r>
                      <a:rPr lang="en-GB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÷</m:t>
                    </m:r>
                  </m:oMath>
                </a14:m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Population</a:t>
                </a:r>
              </a:p>
              <a:p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2-The </a:t>
                </a:r>
                <a:r>
                  <a:rPr lang="en-GB" sz="1600" b="1" dirty="0">
                    <a:solidFill>
                      <a:srgbClr val="7030A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thod round() </a:t>
                </a:r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is use to round down the number of decimal, here to 2</a:t>
                </a:r>
              </a:p>
              <a:p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3-Create a new column name that hold the new calculated ratio</a:t>
                </a:r>
              </a:p>
              <a:p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4-Call the dataframe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5940C82A-A5B2-9F69-8FE1-1D32D1145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3834" y="2256454"/>
                <a:ext cx="5877723" cy="2462213"/>
              </a:xfrm>
              <a:prstGeom prst="rect">
                <a:avLst/>
              </a:prstGeom>
              <a:blipFill>
                <a:blip r:embed="rId8"/>
                <a:stretch>
                  <a:fillRect l="-648" t="-513" r="-648" b="-205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3" name="Group 42">
            <a:extLst>
              <a:ext uri="{FF2B5EF4-FFF2-40B4-BE49-F238E27FC236}">
                <a16:creationId xmlns:a16="http://schemas.microsoft.com/office/drawing/2014/main" id="{60811FF2-D6BB-92D6-8046-3BA48391411B}"/>
              </a:ext>
            </a:extLst>
          </p:cNvPr>
          <p:cNvGrpSpPr/>
          <p:nvPr/>
        </p:nvGrpSpPr>
        <p:grpSpPr>
          <a:xfrm>
            <a:off x="4757708" y="4718667"/>
            <a:ext cx="4200962" cy="2023338"/>
            <a:chOff x="6574465" y="2128512"/>
            <a:chExt cx="4431792" cy="2023338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A4C9376-4C3F-31C6-9B29-67FBCC4BA1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4997"/>
            <a:stretch/>
          </p:blipFill>
          <p:spPr>
            <a:xfrm>
              <a:off x="10021198" y="2128512"/>
              <a:ext cx="985059" cy="2023338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F83DFF3-C850-B5A4-1FB0-0B6C0DE7C4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22816"/>
            <a:stretch/>
          </p:blipFill>
          <p:spPr>
            <a:xfrm>
              <a:off x="6574465" y="2128512"/>
              <a:ext cx="3446733" cy="2023338"/>
            </a:xfrm>
            <a:prstGeom prst="rect">
              <a:avLst/>
            </a:prstGeom>
          </p:spPr>
        </p:pic>
      </p:grpSp>
      <p:pic>
        <p:nvPicPr>
          <p:cNvPr id="42" name="Picture 4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2594476-A429-193A-AD5F-C8A18ADE2C1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476" y="2428965"/>
            <a:ext cx="5254610" cy="14435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5" name="Down Arrow 44">
            <a:extLst>
              <a:ext uri="{FF2B5EF4-FFF2-40B4-BE49-F238E27FC236}">
                <a16:creationId xmlns:a16="http://schemas.microsoft.com/office/drawing/2014/main" id="{9425B9EA-72DA-492C-8DCC-8E80BFA4337F}"/>
              </a:ext>
            </a:extLst>
          </p:cNvPr>
          <p:cNvSpPr/>
          <p:nvPr/>
        </p:nvSpPr>
        <p:spPr>
          <a:xfrm>
            <a:off x="6610762" y="4167931"/>
            <a:ext cx="247427" cy="30274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B721B7-3CF2-DFE2-36D5-342BDF852802}"/>
              </a:ext>
            </a:extLst>
          </p:cNvPr>
          <p:cNvSpPr txBox="1"/>
          <p:nvPr/>
        </p:nvSpPr>
        <p:spPr>
          <a:xfrm>
            <a:off x="9583373" y="5214491"/>
            <a:ext cx="2405713" cy="1323439"/>
          </a:xfrm>
          <a:prstGeom prst="rect">
            <a:avLst/>
          </a:prstGeom>
          <a:noFill/>
          <a:ln>
            <a:solidFill>
              <a:srgbClr val="7030A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ave your new dataframe on your desktop:</a:t>
            </a:r>
          </a:p>
          <a:p>
            <a:r>
              <a:rPr lang="en-GB" sz="16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to_csv('path/filename.csv')</a:t>
            </a:r>
          </a:p>
        </p:txBody>
      </p:sp>
      <p:sp>
        <p:nvSpPr>
          <p:cNvPr id="18" name="Down Arrow 17">
            <a:extLst>
              <a:ext uri="{FF2B5EF4-FFF2-40B4-BE49-F238E27FC236}">
                <a16:creationId xmlns:a16="http://schemas.microsoft.com/office/drawing/2014/main" id="{758B0EBA-32D9-53B1-20FC-C9360E4BE931}"/>
              </a:ext>
            </a:extLst>
          </p:cNvPr>
          <p:cNvSpPr/>
          <p:nvPr/>
        </p:nvSpPr>
        <p:spPr>
          <a:xfrm rot="16200000">
            <a:off x="9250985" y="5754825"/>
            <a:ext cx="221592" cy="218142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7188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35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57FB178-D5FF-DFC2-0693-1D930255C1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896" y="3099718"/>
            <a:ext cx="3872026" cy="237205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3B336E-896E-DB8D-AD17-4F1E95E55AAD}"/>
              </a:ext>
            </a:extLst>
          </p:cNvPr>
          <p:cNvSpPr txBox="1"/>
          <p:nvPr/>
        </p:nvSpPr>
        <p:spPr>
          <a:xfrm>
            <a:off x="618896" y="2199166"/>
            <a:ext cx="74370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Let’s filter the data and keep countries with population size &gt; 100 million: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Population']&gt;100000000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3E1CFAF-C9C0-8073-8BDE-25B879D901C0}"/>
              </a:ext>
            </a:extLst>
          </p:cNvPr>
          <p:cNvGrpSpPr/>
          <p:nvPr/>
        </p:nvGrpSpPr>
        <p:grpSpPr>
          <a:xfrm>
            <a:off x="7691333" y="5460143"/>
            <a:ext cx="3626101" cy="769441"/>
            <a:chOff x="6849959" y="3691636"/>
            <a:chExt cx="3793751" cy="81021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2C2FD11-D69E-A0F2-8E85-670DFF7684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47824" b="34745"/>
            <a:stretch/>
          </p:blipFill>
          <p:spPr>
            <a:xfrm>
              <a:off x="6849959" y="4096741"/>
              <a:ext cx="3793751" cy="405114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2AF87DA-782F-5CAB-BA70-2C4F47A14A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82569"/>
            <a:stretch/>
          </p:blipFill>
          <p:spPr>
            <a:xfrm>
              <a:off x="6849959" y="3691636"/>
              <a:ext cx="3793751" cy="405105"/>
            </a:xfrm>
            <a:prstGeom prst="rect">
              <a:avLst/>
            </a:prstGeom>
          </p:spPr>
        </p:pic>
      </p:grpSp>
      <p:sp>
        <p:nvSpPr>
          <p:cNvPr id="7" name="Right Arrow 6">
            <a:extLst>
              <a:ext uri="{FF2B5EF4-FFF2-40B4-BE49-F238E27FC236}">
                <a16:creationId xmlns:a16="http://schemas.microsoft.com/office/drawing/2014/main" id="{EE6AFFCF-92DB-267D-6853-9066880AEBEF}"/>
              </a:ext>
            </a:extLst>
          </p:cNvPr>
          <p:cNvSpPr/>
          <p:nvPr/>
        </p:nvSpPr>
        <p:spPr>
          <a:xfrm rot="5400000">
            <a:off x="9413264" y="4896966"/>
            <a:ext cx="434897" cy="2526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40ADEB-5E73-660C-A619-2CE912F2DA57}"/>
              </a:ext>
            </a:extLst>
          </p:cNvPr>
          <p:cNvSpPr txBox="1"/>
          <p:nvPr/>
        </p:nvSpPr>
        <p:spPr>
          <a:xfrm>
            <a:off x="618896" y="1575531"/>
            <a:ext cx="4237057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ata filtering using boolean index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8007FB-4D3B-DF5B-AC6B-07200F4E8F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0884" y="3099800"/>
            <a:ext cx="1660071" cy="2324100"/>
          </a:xfrm>
          <a:prstGeom prst="rect">
            <a:avLst/>
          </a:prstGeom>
        </p:spPr>
      </p:pic>
      <p:sp>
        <p:nvSpPr>
          <p:cNvPr id="20" name="Right Arrow 19">
            <a:extLst>
              <a:ext uri="{FF2B5EF4-FFF2-40B4-BE49-F238E27FC236}">
                <a16:creationId xmlns:a16="http://schemas.microsoft.com/office/drawing/2014/main" id="{12DE6056-7769-CD1A-B9B9-EF2066BA731B}"/>
              </a:ext>
            </a:extLst>
          </p:cNvPr>
          <p:cNvSpPr/>
          <p:nvPr/>
        </p:nvSpPr>
        <p:spPr>
          <a:xfrm>
            <a:off x="4848539" y="4139338"/>
            <a:ext cx="434897" cy="2526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13777C-9198-FC62-9CEA-B8C5CD712D6D}"/>
              </a:ext>
            </a:extLst>
          </p:cNvPr>
          <p:cNvSpPr txBox="1"/>
          <p:nvPr/>
        </p:nvSpPr>
        <p:spPr>
          <a:xfrm>
            <a:off x="7691333" y="3134451"/>
            <a:ext cx="3873041" cy="1754326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ncompassing the previous command with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 ]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ill return the true condition in a pandas dataframe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dataframe['Population']&gt;100000000]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4DD0DC-C99A-301B-818A-1A52E55308B1}"/>
              </a:ext>
            </a:extLst>
          </p:cNvPr>
          <p:cNvSpPr txBox="1"/>
          <p:nvPr/>
        </p:nvSpPr>
        <p:spPr>
          <a:xfrm>
            <a:off x="4708370" y="4436514"/>
            <a:ext cx="10411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andas Series outpu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6476C3-4A72-E145-16F0-DD0074D01C05}"/>
              </a:ext>
            </a:extLst>
          </p:cNvPr>
          <p:cNvSpPr txBox="1"/>
          <p:nvPr/>
        </p:nvSpPr>
        <p:spPr>
          <a:xfrm>
            <a:off x="7973989" y="1658542"/>
            <a:ext cx="3796232" cy="52322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Use the following operators to test conditions: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&lt;, &gt;, ==, &gt;=, &lt;= , &amp; (and), | (or), ~ (not)</a:t>
            </a:r>
          </a:p>
        </p:txBody>
      </p:sp>
    </p:spTree>
    <p:extLst>
      <p:ext uri="{BB962C8B-B14F-4D97-AF65-F5344CB8AC3E}">
        <p14:creationId xmlns:p14="http://schemas.microsoft.com/office/powerpoint/2010/main" val="8660560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57FB178-D5FF-DFC2-0693-1D930255C1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896" y="3099718"/>
            <a:ext cx="3872026" cy="237205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3B336E-896E-DB8D-AD17-4F1E95E55AAD}"/>
              </a:ext>
            </a:extLst>
          </p:cNvPr>
          <p:cNvSpPr txBox="1"/>
          <p:nvPr/>
        </p:nvSpPr>
        <p:spPr>
          <a:xfrm>
            <a:off x="618895" y="2199166"/>
            <a:ext cx="97482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Let’s filter the data based on two conditions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ataframe['Country']=="Mexico") &amp; (dataframe['Population']==128932753)</a:t>
            </a:r>
          </a:p>
          <a:p>
            <a:endParaRPr lang="en-GB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3E1CFAF-C9C0-8073-8BDE-25B879D901C0}"/>
              </a:ext>
            </a:extLst>
          </p:cNvPr>
          <p:cNvGrpSpPr/>
          <p:nvPr/>
        </p:nvGrpSpPr>
        <p:grpSpPr>
          <a:xfrm>
            <a:off x="7691333" y="5460143"/>
            <a:ext cx="3626101" cy="769441"/>
            <a:chOff x="6849959" y="3691636"/>
            <a:chExt cx="3793751" cy="81021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2C2FD11-D69E-A0F2-8E85-670DFF7684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47824" b="34745"/>
            <a:stretch/>
          </p:blipFill>
          <p:spPr>
            <a:xfrm>
              <a:off x="6849959" y="4096741"/>
              <a:ext cx="3793751" cy="405114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2AF87DA-782F-5CAB-BA70-2C4F47A14A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82569"/>
            <a:stretch/>
          </p:blipFill>
          <p:spPr>
            <a:xfrm>
              <a:off x="6849959" y="3691636"/>
              <a:ext cx="3793751" cy="405105"/>
            </a:xfrm>
            <a:prstGeom prst="rect">
              <a:avLst/>
            </a:prstGeom>
          </p:spPr>
        </p:pic>
      </p:grpSp>
      <p:sp>
        <p:nvSpPr>
          <p:cNvPr id="7" name="Right Arrow 6">
            <a:extLst>
              <a:ext uri="{FF2B5EF4-FFF2-40B4-BE49-F238E27FC236}">
                <a16:creationId xmlns:a16="http://schemas.microsoft.com/office/drawing/2014/main" id="{EE6AFFCF-92DB-267D-6853-9066880AEBEF}"/>
              </a:ext>
            </a:extLst>
          </p:cNvPr>
          <p:cNvSpPr/>
          <p:nvPr/>
        </p:nvSpPr>
        <p:spPr>
          <a:xfrm rot="5400000">
            <a:off x="9413264" y="4896966"/>
            <a:ext cx="434897" cy="2526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40ADEB-5E73-660C-A619-2CE912F2DA57}"/>
              </a:ext>
            </a:extLst>
          </p:cNvPr>
          <p:cNvSpPr txBox="1"/>
          <p:nvPr/>
        </p:nvSpPr>
        <p:spPr>
          <a:xfrm>
            <a:off x="618896" y="1575531"/>
            <a:ext cx="4852610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ata filtering using boolean indexing cont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8007FB-4D3B-DF5B-AC6B-07200F4E8F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0884" y="3099800"/>
            <a:ext cx="1660071" cy="2324100"/>
          </a:xfrm>
          <a:prstGeom prst="rect">
            <a:avLst/>
          </a:prstGeom>
        </p:spPr>
      </p:pic>
      <p:sp>
        <p:nvSpPr>
          <p:cNvPr id="20" name="Right Arrow 19">
            <a:extLst>
              <a:ext uri="{FF2B5EF4-FFF2-40B4-BE49-F238E27FC236}">
                <a16:creationId xmlns:a16="http://schemas.microsoft.com/office/drawing/2014/main" id="{12DE6056-7769-CD1A-B9B9-EF2066BA731B}"/>
              </a:ext>
            </a:extLst>
          </p:cNvPr>
          <p:cNvSpPr/>
          <p:nvPr/>
        </p:nvSpPr>
        <p:spPr>
          <a:xfrm>
            <a:off x="4848539" y="4139338"/>
            <a:ext cx="434897" cy="2526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13777C-9198-FC62-9CEA-B8C5CD712D6D}"/>
              </a:ext>
            </a:extLst>
          </p:cNvPr>
          <p:cNvSpPr txBox="1"/>
          <p:nvPr/>
        </p:nvSpPr>
        <p:spPr>
          <a:xfrm>
            <a:off x="7506707" y="3134451"/>
            <a:ext cx="4500667" cy="1754326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ncompassing the previous command with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 ]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ill return the true condition in a pandas dataframe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(dataframe['Country']=="Mexico") &amp; (dataframe['Population']==128932753)]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40E8F57-1A3F-BC1F-D30F-CBF947D23883}"/>
              </a:ext>
            </a:extLst>
          </p:cNvPr>
          <p:cNvCxnSpPr>
            <a:cxnSpLocks/>
          </p:cNvCxnSpPr>
          <p:nvPr/>
        </p:nvCxnSpPr>
        <p:spPr>
          <a:xfrm>
            <a:off x="4394808" y="2826509"/>
            <a:ext cx="192227" cy="0"/>
          </a:xfrm>
          <a:prstGeom prst="line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E3EBE23-20CF-22DF-1ECF-39B65D560E95}"/>
              </a:ext>
            </a:extLst>
          </p:cNvPr>
          <p:cNvCxnSpPr>
            <a:cxnSpLocks/>
          </p:cNvCxnSpPr>
          <p:nvPr/>
        </p:nvCxnSpPr>
        <p:spPr>
          <a:xfrm>
            <a:off x="7302280" y="2824530"/>
            <a:ext cx="192227" cy="0"/>
          </a:xfrm>
          <a:prstGeom prst="line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533251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 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9F940B8-D77D-0E0F-BC36-C5F81A3F72E1}"/>
              </a:ext>
            </a:extLst>
          </p:cNvPr>
          <p:cNvSpPr txBox="1"/>
          <p:nvPr/>
        </p:nvSpPr>
        <p:spPr>
          <a:xfrm>
            <a:off x="500634" y="1623938"/>
            <a:ext cx="3429144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Grouping data with groupby(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FABB7D-57A4-2F42-5A4E-F8AAFF49CE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0109" y="2951754"/>
            <a:ext cx="4697843" cy="258691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A96CDFB-560E-438F-4041-6A59D87A5173}"/>
              </a:ext>
            </a:extLst>
          </p:cNvPr>
          <p:cNvSpPr txBox="1"/>
          <p:nvPr/>
        </p:nvSpPr>
        <p:spPr>
          <a:xfrm>
            <a:off x="500634" y="2481742"/>
            <a:ext cx="537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groupby("platform")["score"].mean()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F87AB9D3-7400-B21B-5B61-5D79984B6FE3}"/>
              </a:ext>
            </a:extLst>
          </p:cNvPr>
          <p:cNvCxnSpPr>
            <a:cxnSpLocks/>
          </p:cNvCxnSpPr>
          <p:nvPr/>
        </p:nvCxnSpPr>
        <p:spPr>
          <a:xfrm>
            <a:off x="1046093" y="3576528"/>
            <a:ext cx="485824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C659505-8893-DD95-85F0-37669DE0B8CD}"/>
              </a:ext>
            </a:extLst>
          </p:cNvPr>
          <p:cNvCxnSpPr>
            <a:cxnSpLocks/>
          </p:cNvCxnSpPr>
          <p:nvPr/>
        </p:nvCxnSpPr>
        <p:spPr>
          <a:xfrm flipV="1">
            <a:off x="1056865" y="2951753"/>
            <a:ext cx="0" cy="624775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057E384-A094-3FC2-1559-0062BA21BB64}"/>
              </a:ext>
            </a:extLst>
          </p:cNvPr>
          <p:cNvCxnSpPr>
            <a:cxnSpLocks/>
          </p:cNvCxnSpPr>
          <p:nvPr/>
        </p:nvCxnSpPr>
        <p:spPr>
          <a:xfrm>
            <a:off x="869268" y="2951753"/>
            <a:ext cx="375194" cy="0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 descr="Table&#10;&#10;Description automatically generated with medium confidence">
            <a:extLst>
              <a:ext uri="{FF2B5EF4-FFF2-40B4-BE49-F238E27FC236}">
                <a16:creationId xmlns:a16="http://schemas.microsoft.com/office/drawing/2014/main" id="{1FF7773F-E217-C03C-A92F-5B8BD808CF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7040" y="2184816"/>
            <a:ext cx="2214434" cy="966618"/>
          </a:xfrm>
          <a:prstGeom prst="rect">
            <a:avLst/>
          </a:prstGeom>
        </p:spPr>
      </p:pic>
      <p:pic>
        <p:nvPicPr>
          <p:cNvPr id="39" name="Picture 38" descr="Table&#10;&#10;Description automatically generated">
            <a:extLst>
              <a:ext uri="{FF2B5EF4-FFF2-40B4-BE49-F238E27FC236}">
                <a16:creationId xmlns:a16="http://schemas.microsoft.com/office/drawing/2014/main" id="{7CBE01FA-E31E-48B6-936B-6405A3BC95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059" y="4361792"/>
            <a:ext cx="1517413" cy="1297787"/>
          </a:xfrm>
          <a:prstGeom prst="rect">
            <a:avLst/>
          </a:prstGeom>
        </p:spPr>
      </p:pic>
      <p:sp>
        <p:nvSpPr>
          <p:cNvPr id="40" name="Down Arrow 39">
            <a:extLst>
              <a:ext uri="{FF2B5EF4-FFF2-40B4-BE49-F238E27FC236}">
                <a16:creationId xmlns:a16="http://schemas.microsoft.com/office/drawing/2014/main" id="{639051FC-4B1D-238F-3D2B-05C084A7E36B}"/>
              </a:ext>
            </a:extLst>
          </p:cNvPr>
          <p:cNvSpPr/>
          <p:nvPr/>
        </p:nvSpPr>
        <p:spPr>
          <a:xfrm rot="15046326">
            <a:off x="6695068" y="2836411"/>
            <a:ext cx="221593" cy="316561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Down Arrow 41">
            <a:extLst>
              <a:ext uri="{FF2B5EF4-FFF2-40B4-BE49-F238E27FC236}">
                <a16:creationId xmlns:a16="http://schemas.microsoft.com/office/drawing/2014/main" id="{79175842-E760-1691-6934-42CA9A3F346A}"/>
              </a:ext>
            </a:extLst>
          </p:cNvPr>
          <p:cNvSpPr/>
          <p:nvPr/>
        </p:nvSpPr>
        <p:spPr>
          <a:xfrm rot="17723378">
            <a:off x="6720946" y="4567217"/>
            <a:ext cx="221593" cy="316561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E233BFB-DCE0-718A-A54F-2A72B27765CA}"/>
              </a:ext>
            </a:extLst>
          </p:cNvPr>
          <p:cNvSpPr txBox="1"/>
          <p:nvPr/>
        </p:nvSpPr>
        <p:spPr>
          <a:xfrm>
            <a:off x="7197040" y="1663401"/>
            <a:ext cx="1963999" cy="307777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return a pandas seri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C3FAA1A-E200-E28D-3283-EA73FAAB51DB}"/>
              </a:ext>
            </a:extLst>
          </p:cNvPr>
          <p:cNvSpPr txBox="1"/>
          <p:nvPr/>
        </p:nvSpPr>
        <p:spPr>
          <a:xfrm>
            <a:off x="6482248" y="3374574"/>
            <a:ext cx="5709751" cy="738664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Use the parameter </a:t>
            </a:r>
            <a:r>
              <a:rPr lang="en-GB" sz="1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_index=False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in the groupby() 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function to return a pandas dataframe:</a:t>
            </a:r>
          </a:p>
          <a:p>
            <a:r>
              <a:rPr lang="en-GB" sz="1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groupby("platform",as_index=False)["score"].mean()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6F124C6-B354-9338-8D13-34F10FBA6A75}"/>
              </a:ext>
            </a:extLst>
          </p:cNvPr>
          <p:cNvCxnSpPr>
            <a:cxnSpLocks/>
          </p:cNvCxnSpPr>
          <p:nvPr/>
        </p:nvCxnSpPr>
        <p:spPr>
          <a:xfrm>
            <a:off x="8139766" y="4169581"/>
            <a:ext cx="0" cy="145803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3D03658-C9C9-98ED-F6C3-1EDC3A65D6F2}"/>
              </a:ext>
            </a:extLst>
          </p:cNvPr>
          <p:cNvCxnSpPr>
            <a:cxnSpLocks/>
          </p:cNvCxnSpPr>
          <p:nvPr/>
        </p:nvCxnSpPr>
        <p:spPr>
          <a:xfrm>
            <a:off x="8120037" y="1971557"/>
            <a:ext cx="0" cy="248676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 descr="Chart, bar chart&#10;&#10;Description automatically generated">
            <a:extLst>
              <a:ext uri="{FF2B5EF4-FFF2-40B4-BE49-F238E27FC236}">
                <a16:creationId xmlns:a16="http://schemas.microsoft.com/office/drawing/2014/main" id="{C903AC52-2117-89E6-78CB-82A2D74DD9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1715" y="4169581"/>
            <a:ext cx="2451100" cy="1676400"/>
          </a:xfrm>
          <a:prstGeom prst="rect">
            <a:avLst/>
          </a:prstGeom>
        </p:spPr>
      </p:pic>
      <p:sp>
        <p:nvSpPr>
          <p:cNvPr id="58" name="Down Arrow 57">
            <a:extLst>
              <a:ext uri="{FF2B5EF4-FFF2-40B4-BE49-F238E27FC236}">
                <a16:creationId xmlns:a16="http://schemas.microsoft.com/office/drawing/2014/main" id="{B6946AC5-972F-D408-089B-72E750874772}"/>
              </a:ext>
            </a:extLst>
          </p:cNvPr>
          <p:cNvSpPr/>
          <p:nvPr/>
        </p:nvSpPr>
        <p:spPr>
          <a:xfrm rot="16200000">
            <a:off x="9131007" y="5039051"/>
            <a:ext cx="221593" cy="316561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F853467-5F73-91F1-D4FC-8AB32AC793D8}"/>
              </a:ext>
            </a:extLst>
          </p:cNvPr>
          <p:cNvSpPr txBox="1"/>
          <p:nvPr/>
        </p:nvSpPr>
        <p:spPr>
          <a:xfrm>
            <a:off x="7261744" y="6465486"/>
            <a:ext cx="4567276" cy="307777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ns.barplot(data=dataframe, x='platform', y='score')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2E41886-2E90-8A58-672D-5DDCE4AAF376}"/>
              </a:ext>
            </a:extLst>
          </p:cNvPr>
          <p:cNvCxnSpPr>
            <a:cxnSpLocks/>
          </p:cNvCxnSpPr>
          <p:nvPr/>
        </p:nvCxnSpPr>
        <p:spPr>
          <a:xfrm>
            <a:off x="9105615" y="5933296"/>
            <a:ext cx="375194" cy="0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2DEE036-4758-DDB0-90C6-0BD74612A25E}"/>
              </a:ext>
            </a:extLst>
          </p:cNvPr>
          <p:cNvCxnSpPr>
            <a:cxnSpLocks/>
          </p:cNvCxnSpPr>
          <p:nvPr/>
        </p:nvCxnSpPr>
        <p:spPr>
          <a:xfrm flipV="1">
            <a:off x="9298452" y="5611701"/>
            <a:ext cx="0" cy="312037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A2FCB2D8-DC51-AB37-0A98-75F7EB88289D}"/>
              </a:ext>
            </a:extLst>
          </p:cNvPr>
          <p:cNvSpPr txBox="1"/>
          <p:nvPr/>
        </p:nvSpPr>
        <p:spPr>
          <a:xfrm>
            <a:off x="8238739" y="6072527"/>
            <a:ext cx="32768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Import visualisation library seaborn:</a:t>
            </a: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9B706F57-BB76-DFF4-EF77-0215998C45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40638" y="6053116"/>
            <a:ext cx="470888" cy="566258"/>
          </a:xfrm>
          <a:prstGeom prst="rect">
            <a:avLst/>
          </a:prstGeom>
        </p:spPr>
      </p:pic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D63AED02-9114-EF95-39CD-668C39A54473}"/>
              </a:ext>
            </a:extLst>
          </p:cNvPr>
          <p:cNvSpPr/>
          <p:nvPr/>
        </p:nvSpPr>
        <p:spPr>
          <a:xfrm>
            <a:off x="6619925" y="6014037"/>
            <a:ext cx="5332890" cy="738664"/>
          </a:xfrm>
          <a:prstGeom prst="round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351C836-79CE-1BB5-B07F-CBB8A11EEFC4}"/>
              </a:ext>
            </a:extLst>
          </p:cNvPr>
          <p:cNvSpPr txBox="1"/>
          <p:nvPr/>
        </p:nvSpPr>
        <p:spPr>
          <a:xfrm>
            <a:off x="500599" y="2122398"/>
            <a:ext cx="5801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mport th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videogames.csv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ile with the pandas librar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7267046-D040-1C19-3BB4-CE18FDF30B6B}"/>
              </a:ext>
            </a:extLst>
          </p:cNvPr>
          <p:cNvSpPr txBox="1"/>
          <p:nvPr/>
        </p:nvSpPr>
        <p:spPr>
          <a:xfrm>
            <a:off x="8304257" y="6243784"/>
            <a:ext cx="20938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seaborn as sns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own Arrow 1">
            <a:extLst>
              <a:ext uri="{FF2B5EF4-FFF2-40B4-BE49-F238E27FC236}">
                <a16:creationId xmlns:a16="http://schemas.microsoft.com/office/drawing/2014/main" id="{E485EFC8-9E17-D3FB-965D-634E7C5CF4FD}"/>
              </a:ext>
            </a:extLst>
          </p:cNvPr>
          <p:cNvSpPr/>
          <p:nvPr/>
        </p:nvSpPr>
        <p:spPr>
          <a:xfrm rot="16200000">
            <a:off x="311976" y="2242401"/>
            <a:ext cx="196308" cy="17479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4759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exploration 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9F940B8-D77D-0E0F-BC36-C5F81A3F72E1}"/>
              </a:ext>
            </a:extLst>
          </p:cNvPr>
          <p:cNvSpPr txBox="1"/>
          <p:nvPr/>
        </p:nvSpPr>
        <p:spPr>
          <a:xfrm>
            <a:off x="500634" y="1623938"/>
            <a:ext cx="3365024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How to Count unique values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FABB7D-57A4-2F42-5A4E-F8AAFF49CE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5328" y="2879095"/>
            <a:ext cx="4980994" cy="274283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A96CDFB-560E-438F-4041-6A59D87A5173}"/>
              </a:ext>
            </a:extLst>
          </p:cNvPr>
          <p:cNvSpPr txBox="1"/>
          <p:nvPr/>
        </p:nvSpPr>
        <p:spPr>
          <a:xfrm>
            <a:off x="500634" y="2351782"/>
            <a:ext cx="39805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"genre"].value_counts()</a:t>
            </a:r>
          </a:p>
          <a:p>
            <a:endParaRPr lang="en-GB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FC8D114-A4CF-01D6-77B7-1026D179C675}"/>
              </a:ext>
            </a:extLst>
          </p:cNvPr>
          <p:cNvSpPr/>
          <p:nvPr/>
        </p:nvSpPr>
        <p:spPr>
          <a:xfrm>
            <a:off x="4414262" y="2879094"/>
            <a:ext cx="847575" cy="2742837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84A5D233-E594-2EC2-34B9-C7B978B4B2CA}"/>
              </a:ext>
            </a:extLst>
          </p:cNvPr>
          <p:cNvSpPr/>
          <p:nvPr/>
        </p:nvSpPr>
        <p:spPr>
          <a:xfrm>
            <a:off x="6789107" y="4020855"/>
            <a:ext cx="400833" cy="30062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4838A45F-5A7C-4250-CCA5-9FB41AA053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1809" y="3672268"/>
            <a:ext cx="2928801" cy="1214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1791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75255"/>
            <a:ext cx="6938460" cy="844073"/>
            <a:chOff x="3010828" y="398276"/>
            <a:chExt cx="6938460" cy="84407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147435" y="398276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Working with JSON data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9A355CE2-C517-05F9-6678-9CE964E19821}"/>
              </a:ext>
            </a:extLst>
          </p:cNvPr>
          <p:cNvSpPr txBox="1"/>
          <p:nvPr/>
        </p:nvSpPr>
        <p:spPr>
          <a:xfrm>
            <a:off x="815890" y="1623999"/>
            <a:ext cx="142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JSON data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43C12E-028F-0BDF-5E13-8BC56BD39F76}"/>
              </a:ext>
            </a:extLst>
          </p:cNvPr>
          <p:cNvSpPr txBox="1"/>
          <p:nvPr/>
        </p:nvSpPr>
        <p:spPr>
          <a:xfrm>
            <a:off x="2153095" y="1623999"/>
            <a:ext cx="10038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ext format derived from JavaScript (JavaScript Object Notation).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JSON syntax is similar to python dictionaries with {key : value} pairs, and python arrays [] 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41B90B36-56E1-185A-2954-BA8D9BF06E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318" y="2813436"/>
            <a:ext cx="3027425" cy="322103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5857D2B-7354-8DDE-5354-4C71B9D80A3A}"/>
              </a:ext>
            </a:extLst>
          </p:cNvPr>
          <p:cNvSpPr txBox="1"/>
          <p:nvPr/>
        </p:nvSpPr>
        <p:spPr>
          <a:xfrm>
            <a:off x="4291567" y="2444104"/>
            <a:ext cx="28520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Example of JSON objec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39FCE18-9C59-AE69-88D9-B24F0B90F13D}"/>
              </a:ext>
            </a:extLst>
          </p:cNvPr>
          <p:cNvSpPr txBox="1"/>
          <p:nvPr/>
        </p:nvSpPr>
        <p:spPr>
          <a:xfrm>
            <a:off x="842117" y="2905051"/>
            <a:ext cx="29418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Examples of JSON str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8CCE40-D49E-77A4-23ED-6173801BD819}"/>
              </a:ext>
            </a:extLst>
          </p:cNvPr>
          <p:cNvSpPr txBox="1"/>
          <p:nvPr/>
        </p:nvSpPr>
        <p:spPr>
          <a:xfrm>
            <a:off x="815890" y="4749047"/>
            <a:ext cx="2736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Example of JSON array</a:t>
            </a:r>
          </a:p>
        </p:txBody>
      </p:sp>
      <p:sp>
        <p:nvSpPr>
          <p:cNvPr id="34" name="Left Bracket 33">
            <a:extLst>
              <a:ext uri="{FF2B5EF4-FFF2-40B4-BE49-F238E27FC236}">
                <a16:creationId xmlns:a16="http://schemas.microsoft.com/office/drawing/2014/main" id="{52C33298-1D91-7FA7-2531-F6B828926189}"/>
              </a:ext>
            </a:extLst>
          </p:cNvPr>
          <p:cNvSpPr/>
          <p:nvPr/>
        </p:nvSpPr>
        <p:spPr>
          <a:xfrm>
            <a:off x="3828075" y="4187995"/>
            <a:ext cx="274483" cy="1565106"/>
          </a:xfrm>
          <a:prstGeom prst="leftBracket">
            <a:avLst/>
          </a:prstGeom>
          <a:ln w="38100">
            <a:solidFill>
              <a:srgbClr val="FF24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EB51C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9F7853A-46D8-A52C-AC12-A4BF60E9C4A7}"/>
              </a:ext>
            </a:extLst>
          </p:cNvPr>
          <p:cNvCxnSpPr>
            <a:cxnSpLocks/>
            <a:stCxn id="34" idx="1"/>
          </p:cNvCxnSpPr>
          <p:nvPr/>
        </p:nvCxnSpPr>
        <p:spPr>
          <a:xfrm flipH="1">
            <a:off x="3553592" y="4970548"/>
            <a:ext cx="274483" cy="0"/>
          </a:xfrm>
          <a:prstGeom prst="line">
            <a:avLst/>
          </a:prstGeom>
          <a:ln w="38100">
            <a:solidFill>
              <a:srgbClr val="FF24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CA666EF-0807-783A-0642-7AE21471568B}"/>
              </a:ext>
            </a:extLst>
          </p:cNvPr>
          <p:cNvCxnSpPr/>
          <p:nvPr/>
        </p:nvCxnSpPr>
        <p:spPr>
          <a:xfrm>
            <a:off x="3812835" y="3056807"/>
            <a:ext cx="274483" cy="0"/>
          </a:xfrm>
          <a:prstGeom prst="straightConnector1">
            <a:avLst/>
          </a:prstGeom>
          <a:ln w="38100">
            <a:solidFill>
              <a:srgbClr val="FF248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5A7D9ED9-7611-6ED6-65B5-75C92FD22BBC}"/>
              </a:ext>
            </a:extLst>
          </p:cNvPr>
          <p:cNvCxnSpPr/>
          <p:nvPr/>
        </p:nvCxnSpPr>
        <p:spPr>
          <a:xfrm>
            <a:off x="3828075" y="3209207"/>
            <a:ext cx="274483" cy="0"/>
          </a:xfrm>
          <a:prstGeom prst="straightConnector1">
            <a:avLst/>
          </a:prstGeom>
          <a:ln w="38100">
            <a:solidFill>
              <a:srgbClr val="FF248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 descr="Logo, company name&#10;&#10;Description automatically generated">
            <a:extLst>
              <a:ext uri="{FF2B5EF4-FFF2-40B4-BE49-F238E27FC236}">
                <a16:creationId xmlns:a16="http://schemas.microsoft.com/office/drawing/2014/main" id="{D80818BD-80E9-91A8-BB35-6425D592C5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4882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790896" y="299087"/>
            <a:ext cx="6938460" cy="844073"/>
            <a:chOff x="3010828" y="398276"/>
            <a:chExt cx="6938460" cy="84407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3010828" y="1242349"/>
              <a:ext cx="659225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147435" y="398276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Working with JSON dat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DD214A5-E867-2710-D86C-57C006D7D86C}"/>
              </a:ext>
            </a:extLst>
          </p:cNvPr>
          <p:cNvSpPr txBox="1"/>
          <p:nvPr/>
        </p:nvSpPr>
        <p:spPr>
          <a:xfrm>
            <a:off x="280282" y="2379961"/>
            <a:ext cx="34804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Import JSON data from an url:</a:t>
            </a:r>
          </a:p>
        </p:txBody>
      </p:sp>
      <p:pic>
        <p:nvPicPr>
          <p:cNvPr id="30" name="Picture 29" descr="Table&#10;&#10;Description automatically generated">
            <a:extLst>
              <a:ext uri="{FF2B5EF4-FFF2-40B4-BE49-F238E27FC236}">
                <a16:creationId xmlns:a16="http://schemas.microsoft.com/office/drawing/2014/main" id="{58C1C031-A1B5-35BE-2386-7504D4146A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9403" y="2749293"/>
            <a:ext cx="4299906" cy="1914292"/>
          </a:xfrm>
          <a:prstGeom prst="rect">
            <a:avLst/>
          </a:prstGeom>
        </p:spPr>
      </p:pic>
      <p:pic>
        <p:nvPicPr>
          <p:cNvPr id="32" name="Picture 31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04A3B57-E881-1CE7-1FFC-544F506CAD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558" y="2747037"/>
            <a:ext cx="6538876" cy="13200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Down Arrow 1">
            <a:extLst>
              <a:ext uri="{FF2B5EF4-FFF2-40B4-BE49-F238E27FC236}">
                <a16:creationId xmlns:a16="http://schemas.microsoft.com/office/drawing/2014/main" id="{6CC70059-CB57-366F-233A-5400E6680C52}"/>
              </a:ext>
            </a:extLst>
          </p:cNvPr>
          <p:cNvSpPr/>
          <p:nvPr/>
        </p:nvSpPr>
        <p:spPr>
          <a:xfrm rot="16200000">
            <a:off x="7102906" y="3327614"/>
            <a:ext cx="361646" cy="30777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426228-21E4-1C10-9895-1E650380472C}"/>
              </a:ext>
            </a:extLst>
          </p:cNvPr>
          <p:cNvSpPr txBox="1"/>
          <p:nvPr/>
        </p:nvSpPr>
        <p:spPr>
          <a:xfrm>
            <a:off x="6882517" y="3706439"/>
            <a:ext cx="6848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04E189-35C7-771D-453A-28EB6A1F49D1}"/>
              </a:ext>
            </a:extLst>
          </p:cNvPr>
          <p:cNvSpPr txBox="1"/>
          <p:nvPr/>
        </p:nvSpPr>
        <p:spPr>
          <a:xfrm>
            <a:off x="8408713" y="4760392"/>
            <a:ext cx="33586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Current astronauts in space JSON data: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://api.open-notify.org/astros.json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0781201-3EEF-23D3-E605-D107100844CC}"/>
              </a:ext>
            </a:extLst>
          </p:cNvPr>
          <p:cNvCxnSpPr>
            <a:cxnSpLocks/>
          </p:cNvCxnSpPr>
          <p:nvPr/>
        </p:nvCxnSpPr>
        <p:spPr>
          <a:xfrm>
            <a:off x="10867322" y="2498361"/>
            <a:ext cx="0" cy="248676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8CB665-D435-E297-613A-C8CA3274E23A}"/>
              </a:ext>
            </a:extLst>
          </p:cNvPr>
          <p:cNvSpPr txBox="1"/>
          <p:nvPr/>
        </p:nvSpPr>
        <p:spPr>
          <a:xfrm>
            <a:off x="10135407" y="2005196"/>
            <a:ext cx="20057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nested JSON data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needs to be flatten  </a:t>
            </a:r>
          </a:p>
        </p:txBody>
      </p:sp>
      <p:pic>
        <p:nvPicPr>
          <p:cNvPr id="31" name="Picture 30" descr="Logo, company name&#10;&#10;Description automatically generated">
            <a:extLst>
              <a:ext uri="{FF2B5EF4-FFF2-40B4-BE49-F238E27FC236}">
                <a16:creationId xmlns:a16="http://schemas.microsoft.com/office/drawing/2014/main" id="{75AC0538-6113-FF2A-4999-B91FE5734D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1085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55522" y="447326"/>
            <a:ext cx="6801853" cy="872002"/>
            <a:chOff x="2969403" y="370347"/>
            <a:chExt cx="6801853" cy="872002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969403" y="370347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Working with JSON data</a:t>
              </a:r>
            </a:p>
          </p:txBody>
        </p:sp>
      </p:grpSp>
      <p:pic>
        <p:nvPicPr>
          <p:cNvPr id="7" name="Picture 6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F14140D5-D917-EEF9-9573-14B0D80569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280" y="2690413"/>
            <a:ext cx="6805908" cy="10980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Table&#10;&#10;Description automatically generated">
            <a:extLst>
              <a:ext uri="{FF2B5EF4-FFF2-40B4-BE49-F238E27FC236}">
                <a16:creationId xmlns:a16="http://schemas.microsoft.com/office/drawing/2014/main" id="{EAF98A47-F50F-F80C-EE9D-76168753C8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290" y="4413364"/>
            <a:ext cx="2162972" cy="20993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B724AD8-2D05-BC35-B616-94DE7EA1CF9A}"/>
              </a:ext>
            </a:extLst>
          </p:cNvPr>
          <p:cNvSpPr txBox="1"/>
          <p:nvPr/>
        </p:nvSpPr>
        <p:spPr>
          <a:xfrm>
            <a:off x="664740" y="1846339"/>
            <a:ext cx="4198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How to work with nested JSON data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E92CAD-B093-9186-ADD7-1F00F5ADAA25}"/>
              </a:ext>
            </a:extLst>
          </p:cNvPr>
          <p:cNvSpPr txBox="1"/>
          <p:nvPr/>
        </p:nvSpPr>
        <p:spPr>
          <a:xfrm>
            <a:off x="664740" y="2257113"/>
            <a:ext cx="98635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json_normalize data()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unction will flatten the nested JSON data from the columns 'people'</a:t>
            </a:r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670CEC51-60DD-74DA-BB52-E187AF4DA454}"/>
              </a:ext>
            </a:extLst>
          </p:cNvPr>
          <p:cNvSpPr/>
          <p:nvPr/>
        </p:nvSpPr>
        <p:spPr>
          <a:xfrm>
            <a:off x="3840480" y="4057184"/>
            <a:ext cx="164592" cy="265176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4C5E76AC-B1E5-DE0E-3B59-8527A3AF1A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3F49BA1-9F33-7D2F-883C-78F0DBB1149D}"/>
              </a:ext>
            </a:extLst>
          </p:cNvPr>
          <p:cNvSpPr txBox="1"/>
          <p:nvPr/>
        </p:nvSpPr>
        <p:spPr>
          <a:xfrm>
            <a:off x="6556449" y="4829770"/>
            <a:ext cx="5248406" cy="923330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t is common that JSON data will be more complex and have nested dictionaries that need to be flatten</a:t>
            </a:r>
          </a:p>
        </p:txBody>
      </p:sp>
    </p:spTree>
    <p:extLst>
      <p:ext uri="{BB962C8B-B14F-4D97-AF65-F5344CB8AC3E}">
        <p14:creationId xmlns:p14="http://schemas.microsoft.com/office/powerpoint/2010/main" val="3614362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D4E21E0-9F8D-9AE2-1668-25527AD67910}"/>
              </a:ext>
            </a:extLst>
          </p:cNvPr>
          <p:cNvSpPr txBox="1"/>
          <p:nvPr/>
        </p:nvSpPr>
        <p:spPr>
          <a:xfrm>
            <a:off x="988304" y="1024145"/>
            <a:ext cx="844061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000" b="1" dirty="0">
                <a:solidFill>
                  <a:srgbClr val="2F7E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f you do not wish to have your camera displaying your personal environment, Microsoft Teams has a solution to this problem…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3FB706-0148-A42D-B18C-429F1A49A26C}"/>
              </a:ext>
            </a:extLst>
          </p:cNvPr>
          <p:cNvSpPr txBox="1"/>
          <p:nvPr/>
        </p:nvSpPr>
        <p:spPr>
          <a:xfrm>
            <a:off x="190564" y="2179188"/>
            <a:ext cx="340639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ep One: </a:t>
            </a:r>
            <a:r>
              <a:rPr lang="en-GB" sz="1800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efore you join a Teams video call, click the ‘Background Filters’ option.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545F193-FE34-6465-2E27-2AF520D1C419}"/>
              </a:ext>
            </a:extLst>
          </p:cNvPr>
          <p:cNvGrpSpPr/>
          <p:nvPr/>
        </p:nvGrpSpPr>
        <p:grpSpPr>
          <a:xfrm>
            <a:off x="3444909" y="2094797"/>
            <a:ext cx="6149309" cy="3717755"/>
            <a:chOff x="3696985" y="1950771"/>
            <a:chExt cx="5748466" cy="305591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1925278-C315-2400-CDC2-B8319A157F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902" t="13954" r="27650" b="13634"/>
            <a:stretch/>
          </p:blipFill>
          <p:spPr>
            <a:xfrm>
              <a:off x="3696985" y="1950771"/>
              <a:ext cx="5748466" cy="3055914"/>
            </a:xfrm>
            <a:prstGeom prst="rect">
              <a:avLst/>
            </a:prstGeom>
          </p:spPr>
        </p:pic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4F6E5B5-23B1-84AD-3177-86FEF341F46C}"/>
                </a:ext>
              </a:extLst>
            </p:cNvPr>
            <p:cNvSpPr/>
            <p:nvPr/>
          </p:nvSpPr>
          <p:spPr>
            <a:xfrm>
              <a:off x="4320791" y="4265540"/>
              <a:ext cx="1024931" cy="411982"/>
            </a:xfrm>
            <a:prstGeom prst="ellipse">
              <a:avLst/>
            </a:prstGeom>
            <a:noFill/>
            <a:ln w="571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50A934AB-A3AB-7060-4814-3EBC3F893D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9337"/>
          <a:stretch/>
        </p:blipFill>
        <p:spPr>
          <a:xfrm>
            <a:off x="9836299" y="968396"/>
            <a:ext cx="2126594" cy="569850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78CAE30-B78B-2129-815D-A20B22ABA38E}"/>
              </a:ext>
            </a:extLst>
          </p:cNvPr>
          <p:cNvSpPr txBox="1"/>
          <p:nvPr/>
        </p:nvSpPr>
        <p:spPr>
          <a:xfrm>
            <a:off x="190564" y="3355983"/>
            <a:ext cx="321582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ep Two: </a:t>
            </a:r>
            <a:r>
              <a:rPr lang="en-GB" sz="1800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n the right-hand side, you can select any of the stock images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F0669B-4EE5-A427-31A8-785A25BDA6E7}"/>
              </a:ext>
            </a:extLst>
          </p:cNvPr>
          <p:cNvSpPr txBox="1"/>
          <p:nvPr/>
        </p:nvSpPr>
        <p:spPr>
          <a:xfrm>
            <a:off x="190564" y="4612223"/>
            <a:ext cx="325434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b="1" dirty="0">
                <a:solidFill>
                  <a:srgbClr val="2F7EC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ep Three: </a:t>
            </a:r>
            <a:r>
              <a:rPr lang="en-GB" sz="1800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he image you choose will then appear in your background on the video call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D964CB-C632-9F70-D8F0-741412B1DF72}"/>
              </a:ext>
            </a:extLst>
          </p:cNvPr>
          <p:cNvSpPr txBox="1"/>
          <p:nvPr/>
        </p:nvSpPr>
        <p:spPr>
          <a:xfrm>
            <a:off x="190564" y="6179547"/>
            <a:ext cx="959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f you need any further support in regards to this requirement, please speak to your tutor directly. 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711C679D-22C7-AC2B-7B65-6CC04C714442}"/>
              </a:ext>
            </a:extLst>
          </p:cNvPr>
          <p:cNvSpPr txBox="1">
            <a:spLocks/>
          </p:cNvSpPr>
          <p:nvPr/>
        </p:nvSpPr>
        <p:spPr>
          <a:xfrm>
            <a:off x="0" y="201288"/>
            <a:ext cx="12191999" cy="3436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ckground filters</a:t>
            </a:r>
            <a:endParaRPr lang="en-US" sz="24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207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/>
      <p:bldP spid="11" grpId="0"/>
      <p:bldP spid="12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75255"/>
            <a:ext cx="6938460" cy="844073"/>
            <a:chOff x="3010828" y="398276"/>
            <a:chExt cx="6938460" cy="84407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147435" y="398276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Working with JSON data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FB724AD8-2D05-BC35-B616-94DE7EA1CF9A}"/>
              </a:ext>
            </a:extLst>
          </p:cNvPr>
          <p:cNvSpPr txBox="1"/>
          <p:nvPr/>
        </p:nvSpPr>
        <p:spPr>
          <a:xfrm>
            <a:off x="664740" y="1846339"/>
            <a:ext cx="49680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How to work with nested JSON data (cont.):</a:t>
            </a:r>
          </a:p>
        </p:txBody>
      </p:sp>
      <p:pic>
        <p:nvPicPr>
          <p:cNvPr id="23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4C5E76AC-B1E5-DE0E-3B59-8527A3AF1A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3" name="Picture 2" descr="Table&#10;&#10;Description automatically generated">
            <a:extLst>
              <a:ext uri="{FF2B5EF4-FFF2-40B4-BE49-F238E27FC236}">
                <a16:creationId xmlns:a16="http://schemas.microsoft.com/office/drawing/2014/main" id="{CD1E0B39-7EB1-FD67-BB41-F8977B46AA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3606" y="4470231"/>
            <a:ext cx="3864610" cy="2192980"/>
          </a:xfrm>
          <a:prstGeom prst="rect">
            <a:avLst/>
          </a:prstGeom>
        </p:spPr>
      </p:pic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32267BA7-CFE0-674D-0FB3-E0C37B9656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499" y="3429000"/>
            <a:ext cx="6924780" cy="104694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2445FEF-BFDB-92BB-A4EA-7D2F56B7B685}"/>
              </a:ext>
            </a:extLst>
          </p:cNvPr>
          <p:cNvSpPr txBox="1"/>
          <p:nvPr/>
        </p:nvSpPr>
        <p:spPr>
          <a:xfrm>
            <a:off x="664739" y="2211803"/>
            <a:ext cx="8880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previous flatten JSON data needs to be added to the previous JSON data.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o combine dataframes: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concat()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llows the concatenation of 2 or more dataframes, and the previous column 'people' is dropped with the function drop() as we saw in session 1 </a:t>
            </a:r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D58CEF10-8D8D-050C-3743-704F784E9357}"/>
              </a:ext>
            </a:extLst>
          </p:cNvPr>
          <p:cNvSpPr/>
          <p:nvPr/>
        </p:nvSpPr>
        <p:spPr>
          <a:xfrm rot="3026586">
            <a:off x="6559417" y="4477354"/>
            <a:ext cx="525849" cy="3204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7402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785030" y="519402"/>
            <a:ext cx="7439624" cy="819590"/>
            <a:chOff x="2598911" y="442423"/>
            <a:chExt cx="7439624" cy="81959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2891325" y="1262013"/>
              <a:ext cx="6232188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598911" y="442423"/>
              <a:ext cx="743962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 from APIs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E89B91A-10CF-14AB-F933-7D4380FAAAB3}"/>
              </a:ext>
            </a:extLst>
          </p:cNvPr>
          <p:cNvSpPr txBox="1"/>
          <p:nvPr/>
        </p:nvSpPr>
        <p:spPr>
          <a:xfrm>
            <a:off x="322729" y="1785769"/>
            <a:ext cx="4711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Application Programming Interface (API)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89F6C3-9E30-C91C-3A0E-B7110DDF93DA}"/>
              </a:ext>
            </a:extLst>
          </p:cNvPr>
          <p:cNvSpPr txBox="1"/>
          <p:nvPr/>
        </p:nvSpPr>
        <p:spPr>
          <a:xfrm>
            <a:off x="322729" y="2098273"/>
            <a:ext cx="87983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PIs can be used to access/store/delete information/data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HTTP request methods are used to access or modify data from database via an API </a:t>
            </a:r>
          </a:p>
        </p:txBody>
      </p:sp>
      <p:pic>
        <p:nvPicPr>
          <p:cNvPr id="5" name="Picture 4" descr="A picture containing text, electronics, display&#10;&#10;Description automatically generated">
            <a:extLst>
              <a:ext uri="{FF2B5EF4-FFF2-40B4-BE49-F238E27FC236}">
                <a16:creationId xmlns:a16="http://schemas.microsoft.com/office/drawing/2014/main" id="{048AD96E-90BA-63AE-154D-71F2ECE452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565" y="3452277"/>
            <a:ext cx="1876453" cy="1876453"/>
          </a:xfrm>
          <a:prstGeom prst="rect">
            <a:avLst/>
          </a:prstGeom>
        </p:spPr>
      </p:pic>
      <p:pic>
        <p:nvPicPr>
          <p:cNvPr id="9" name="Picture 8" descr="Icon&#10;&#10;Description automatically generated with medium confidence">
            <a:extLst>
              <a:ext uri="{FF2B5EF4-FFF2-40B4-BE49-F238E27FC236}">
                <a16:creationId xmlns:a16="http://schemas.microsoft.com/office/drawing/2014/main" id="{E814B5EB-8327-F0FC-3FE2-EDF7F11207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1948" y="3688022"/>
            <a:ext cx="1262454" cy="126245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C444359-D1E0-83BF-827A-94B2B5D9F372}"/>
              </a:ext>
            </a:extLst>
          </p:cNvPr>
          <p:cNvCxnSpPr/>
          <p:nvPr/>
        </p:nvCxnSpPr>
        <p:spPr>
          <a:xfrm>
            <a:off x="4152452" y="4138168"/>
            <a:ext cx="95743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F84B971-609B-95B6-9D26-84024E5CC555}"/>
              </a:ext>
            </a:extLst>
          </p:cNvPr>
          <p:cNvSpPr txBox="1"/>
          <p:nvPr/>
        </p:nvSpPr>
        <p:spPr>
          <a:xfrm>
            <a:off x="3557892" y="3129860"/>
            <a:ext cx="22341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HTTP request method sent</a:t>
            </a:r>
          </a:p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(data: GET, POST, PUT, DELETE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AC6D548-2ACB-BF13-09AB-3D218D9E2BA8}"/>
              </a:ext>
            </a:extLst>
          </p:cNvPr>
          <p:cNvCxnSpPr>
            <a:cxnSpLocks/>
          </p:cNvCxnSpPr>
          <p:nvPr/>
        </p:nvCxnSpPr>
        <p:spPr>
          <a:xfrm flipH="1">
            <a:off x="4152452" y="4557792"/>
            <a:ext cx="91139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F79AFA2-D140-836B-6A34-49FCF3595C58}"/>
              </a:ext>
            </a:extLst>
          </p:cNvPr>
          <p:cNvSpPr txBox="1"/>
          <p:nvPr/>
        </p:nvSpPr>
        <p:spPr>
          <a:xfrm>
            <a:off x="3434443" y="4641767"/>
            <a:ext cx="24026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HTTP response</a:t>
            </a:r>
          </a:p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(data: JSON, XML, pictures, audio, videos etc.)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7A22E2E1-25EA-3044-B2BE-7AF3E25A50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992" y="3401664"/>
            <a:ext cx="1876454" cy="1876454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86265A54-4710-6D7B-8513-71A0F5D921C4}"/>
              </a:ext>
            </a:extLst>
          </p:cNvPr>
          <p:cNvSpPr txBox="1"/>
          <p:nvPr/>
        </p:nvSpPr>
        <p:spPr>
          <a:xfrm>
            <a:off x="5837118" y="5278242"/>
            <a:ext cx="22341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Interface communication</a:t>
            </a:r>
          </a:p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on the web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7E13A88-05A5-23E0-195A-F03B2FD24AB7}"/>
              </a:ext>
            </a:extLst>
          </p:cNvPr>
          <p:cNvCxnSpPr/>
          <p:nvPr/>
        </p:nvCxnSpPr>
        <p:spPr>
          <a:xfrm>
            <a:off x="8211982" y="4083967"/>
            <a:ext cx="95743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1C38F88-85F6-3764-AC4D-FE017FC2820C}"/>
              </a:ext>
            </a:extLst>
          </p:cNvPr>
          <p:cNvCxnSpPr>
            <a:cxnSpLocks/>
          </p:cNvCxnSpPr>
          <p:nvPr/>
        </p:nvCxnSpPr>
        <p:spPr>
          <a:xfrm flipH="1">
            <a:off x="8211982" y="4503591"/>
            <a:ext cx="91139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934A1DC8-34CD-197B-5BE9-014A61B798E4}"/>
              </a:ext>
            </a:extLst>
          </p:cNvPr>
          <p:cNvSpPr txBox="1"/>
          <p:nvPr/>
        </p:nvSpPr>
        <p:spPr>
          <a:xfrm>
            <a:off x="8994412" y="5278118"/>
            <a:ext cx="2234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76048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302136" y="545901"/>
            <a:ext cx="8404320" cy="793091"/>
            <a:chOff x="2116017" y="468922"/>
            <a:chExt cx="8404320" cy="79309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2223594" y="1262013"/>
              <a:ext cx="6594438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116017" y="468922"/>
              <a:ext cx="840432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 from an API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10" name="Picture 9" descr="Graphical user interface, application, Word&#10;&#10;Description automatically generated with medium confidence">
            <a:extLst>
              <a:ext uri="{FF2B5EF4-FFF2-40B4-BE49-F238E27FC236}">
                <a16:creationId xmlns:a16="http://schemas.microsoft.com/office/drawing/2014/main" id="{ACE16559-FB34-1F2E-82B2-77B8201E4D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95" y="2311067"/>
            <a:ext cx="5628543" cy="7384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19DF293-FF9B-4332-14CC-B07CAB457A40}"/>
              </a:ext>
            </a:extLst>
          </p:cNvPr>
          <p:cNvSpPr txBox="1"/>
          <p:nvPr/>
        </p:nvSpPr>
        <p:spPr>
          <a:xfrm>
            <a:off x="8142726" y="6422778"/>
            <a:ext cx="37094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Source API website: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s://disease.sh/docs/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04B991-1FDB-FC0E-8CEE-271D399FDF1F}"/>
              </a:ext>
            </a:extLst>
          </p:cNvPr>
          <p:cNvSpPr txBox="1"/>
          <p:nvPr/>
        </p:nvSpPr>
        <p:spPr>
          <a:xfrm>
            <a:off x="589376" y="3095650"/>
            <a:ext cx="101170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request method is used to send HTTP requests to get data from an url: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s.get()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(API calling from the following website: https://disease.sh/v3/covid-19/countries)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4152F3-183C-EA16-8906-9CE22743235E}"/>
              </a:ext>
            </a:extLst>
          </p:cNvPr>
          <p:cNvSpPr txBox="1"/>
          <p:nvPr/>
        </p:nvSpPr>
        <p:spPr>
          <a:xfrm>
            <a:off x="589376" y="1836164"/>
            <a:ext cx="87597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irst, we need to import the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 module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o make an HTTP request in VS Code:</a:t>
            </a:r>
          </a:p>
        </p:txBody>
      </p:sp>
      <p:pic>
        <p:nvPicPr>
          <p:cNvPr id="13" name="Picture 1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303ECECE-9C26-689D-E450-6B653F59E4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95" y="3834067"/>
            <a:ext cx="5777262" cy="12550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44CE825-C29A-3DF5-F9E9-BC6A8D89F37B}"/>
              </a:ext>
            </a:extLst>
          </p:cNvPr>
          <p:cNvCxnSpPr>
            <a:cxnSpLocks/>
          </p:cNvCxnSpPr>
          <p:nvPr/>
        </p:nvCxnSpPr>
        <p:spPr>
          <a:xfrm flipH="1">
            <a:off x="2085914" y="5003512"/>
            <a:ext cx="49215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37F93C2-ED18-4DE6-0945-72B71C8B70CC}"/>
              </a:ext>
            </a:extLst>
          </p:cNvPr>
          <p:cNvSpPr txBox="1"/>
          <p:nvPr/>
        </p:nvSpPr>
        <p:spPr>
          <a:xfrm>
            <a:off x="2085914" y="5226620"/>
            <a:ext cx="3788858" cy="584775"/>
          </a:xfrm>
          <a:prstGeom prst="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utput: HTTP response status.</a:t>
            </a:r>
          </a:p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200 means it’s a successful respons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86E56C1-DB86-8BFB-303B-3631128F4221}"/>
              </a:ext>
            </a:extLst>
          </p:cNvPr>
          <p:cNvCxnSpPr/>
          <p:nvPr/>
        </p:nvCxnSpPr>
        <p:spPr>
          <a:xfrm>
            <a:off x="2567311" y="4992754"/>
            <a:ext cx="0" cy="223108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316679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302135" y="545901"/>
            <a:ext cx="9262335" cy="793091"/>
            <a:chOff x="2116016" y="468922"/>
            <a:chExt cx="9262335" cy="79309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2223594" y="1262013"/>
              <a:ext cx="8175812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116016" y="468922"/>
              <a:ext cx="926233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 from an API (cont.)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3" name="Picture 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BBE3E0D-234D-C536-67AE-D689EF420E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762" y="2482348"/>
            <a:ext cx="4611033" cy="154686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1F46ABD9-46F6-4949-1CE2-9E489FD9F987}"/>
              </a:ext>
            </a:extLst>
          </p:cNvPr>
          <p:cNvGrpSpPr/>
          <p:nvPr/>
        </p:nvGrpSpPr>
        <p:grpSpPr>
          <a:xfrm>
            <a:off x="6898465" y="2463474"/>
            <a:ext cx="2657015" cy="1546864"/>
            <a:chOff x="2589679" y="3980778"/>
            <a:chExt cx="3829050" cy="2033902"/>
          </a:xfrm>
        </p:grpSpPr>
        <p:pic>
          <p:nvPicPr>
            <p:cNvPr id="8" name="Picture 7" descr="Text&#10;&#10;Description automatically generated">
              <a:extLst>
                <a:ext uri="{FF2B5EF4-FFF2-40B4-BE49-F238E27FC236}">
                  <a16:creationId xmlns:a16="http://schemas.microsoft.com/office/drawing/2014/main" id="{F17CE0BA-2E48-EF51-58B3-DCB37F121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9679" y="3980778"/>
              <a:ext cx="3829050" cy="18034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6227E08-E5A8-FDCB-3D14-BDD8AA4A6F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32136" y="5784178"/>
              <a:ext cx="2375947" cy="230502"/>
            </a:xfrm>
            <a:prstGeom prst="rect">
              <a:avLst/>
            </a:prstGeom>
          </p:spPr>
        </p:pic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971AB63B-E314-6F89-3BC0-4CA1229B96D1}"/>
              </a:ext>
            </a:extLst>
          </p:cNvPr>
          <p:cNvSpPr txBox="1"/>
          <p:nvPr/>
        </p:nvSpPr>
        <p:spPr>
          <a:xfrm>
            <a:off x="463253" y="1658993"/>
            <a:ext cx="88280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JSON library needs to be imported to work with JSON data.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get request needs to be converted into text and then loaded into a JSON format:</a:t>
            </a: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01680E88-0037-B17D-2AAB-6691B69C0555}"/>
              </a:ext>
            </a:extLst>
          </p:cNvPr>
          <p:cNvSpPr/>
          <p:nvPr/>
        </p:nvSpPr>
        <p:spPr>
          <a:xfrm>
            <a:off x="5969997" y="3029022"/>
            <a:ext cx="457200" cy="311412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6FD8E2-E40D-A2D2-30C2-2D47FC7C23D1}"/>
              </a:ext>
            </a:extLst>
          </p:cNvPr>
          <p:cNvSpPr txBox="1"/>
          <p:nvPr/>
        </p:nvSpPr>
        <p:spPr>
          <a:xfrm>
            <a:off x="5751385" y="3391914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797F39-19E5-A14F-AB5C-854EB4BC8A22}"/>
              </a:ext>
            </a:extLst>
          </p:cNvPr>
          <p:cNvSpPr txBox="1"/>
          <p:nvPr/>
        </p:nvSpPr>
        <p:spPr>
          <a:xfrm>
            <a:off x="453224" y="4237713"/>
            <a:ext cx="6194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e can transform the JSON data into a pandas dataframe:</a:t>
            </a:r>
          </a:p>
        </p:txBody>
      </p:sp>
      <p:pic>
        <p:nvPicPr>
          <p:cNvPr id="29" name="Picture 28" descr="Table&#10;&#10;Description automatically generated">
            <a:extLst>
              <a:ext uri="{FF2B5EF4-FFF2-40B4-BE49-F238E27FC236}">
                <a16:creationId xmlns:a16="http://schemas.microsoft.com/office/drawing/2014/main" id="{98D19E7B-CC39-51F0-3F83-C7BF8254EE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3302" y="4132400"/>
            <a:ext cx="4299991" cy="1893170"/>
          </a:xfrm>
          <a:prstGeom prst="rect">
            <a:avLst/>
          </a:prstGeom>
        </p:spPr>
      </p:pic>
      <p:pic>
        <p:nvPicPr>
          <p:cNvPr id="31" name="Picture 30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058A810C-CD90-7D26-BBBD-AC0E5450041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1"/>
          <a:stretch/>
        </p:blipFill>
        <p:spPr>
          <a:xfrm>
            <a:off x="540172" y="4657488"/>
            <a:ext cx="4649623" cy="8429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3" name="Right Arrow 32">
            <a:extLst>
              <a:ext uri="{FF2B5EF4-FFF2-40B4-BE49-F238E27FC236}">
                <a16:creationId xmlns:a16="http://schemas.microsoft.com/office/drawing/2014/main" id="{C1AA6E10-5ECD-9415-F396-A51B275783D3}"/>
              </a:ext>
            </a:extLst>
          </p:cNvPr>
          <p:cNvSpPr/>
          <p:nvPr/>
        </p:nvSpPr>
        <p:spPr>
          <a:xfrm>
            <a:off x="5969997" y="4923279"/>
            <a:ext cx="457200" cy="311412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F2AA37-C32B-B5BD-3A63-F84C6B3D7DC6}"/>
              </a:ext>
            </a:extLst>
          </p:cNvPr>
          <p:cNvSpPr txBox="1"/>
          <p:nvPr/>
        </p:nvSpPr>
        <p:spPr>
          <a:xfrm>
            <a:off x="5760919" y="5234691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88839795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5" name="TextBox 31">
            <a:extLst>
              <a:ext uri="{FF2B5EF4-FFF2-40B4-BE49-F238E27FC236}">
                <a16:creationId xmlns:a16="http://schemas.microsoft.com/office/drawing/2014/main" id="{00773A60-ABEA-4548-B2C1-79982AF497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358" y="829315"/>
            <a:ext cx="879858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F4E4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actice Exercise- Task2 </a:t>
            </a:r>
            <a:endParaRPr kumimoji="0" lang="en-ID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00B1B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915CD6-19CD-F348-82BC-4487C30B5E2E}"/>
              </a:ext>
            </a:extLst>
          </p:cNvPr>
          <p:cNvSpPr txBox="1"/>
          <p:nvPr/>
        </p:nvSpPr>
        <p:spPr>
          <a:xfrm>
            <a:off x="704358" y="1546508"/>
            <a:ext cx="11182841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You have been given a dataset to analyse which requires some clean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art .1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mport the file named </a:t>
            </a:r>
            <a:r>
              <a:rPr lang="en-GB" b="1" dirty="0">
                <a:latin typeface="Calibri" panose="020F0502020204030204" pitchFamily="34" charset="0"/>
                <a:cs typeface="Calibri" panose="020F0502020204030204" pitchFamily="34" charset="0"/>
              </a:rPr>
              <a:t>Data_Analyst_Sample.csv 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n Panda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Explore the file with at least 3 common exploration methods in Panda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How many rows and columns the data file has?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Which column names have missing values and how many?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Remove missing values from columns that contain Pandas object datatype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Replace missing values by zero in columns that contain number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Verify that no missing values are in the data file </a:t>
            </a:r>
          </a:p>
          <a:p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Part 2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Open the “</a:t>
            </a:r>
            <a:r>
              <a:rPr lang="en-GB" b="1" dirty="0">
                <a:latin typeface="Calibri" panose="020F0502020204030204" pitchFamily="34" charset="0"/>
                <a:cs typeface="Calibri" panose="020F0502020204030204" pitchFamily="34" charset="0"/>
              </a:rPr>
              <a:t>errors.csv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” file with Excel to check the errors associated to the “Campaign name”. 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orrect the errors that appear in the Data_Analyst_Sample.csv imported with the Pandas into a Python script: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ount how many errors there are in the dataset (you might want to use a loop for this and using the .contains() method to find the errors)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Use the .replace() method to correct the errors. Verify the errors have been corrected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D4D4D4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 descr="Shape, circle&#10;&#10;Description automatically generated">
            <a:extLst>
              <a:ext uri="{FF2B5EF4-FFF2-40B4-BE49-F238E27FC236}">
                <a16:creationId xmlns:a16="http://schemas.microsoft.com/office/drawing/2014/main" id="{B282C7A8-E058-8921-20CF-9C0E5482517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33" t="35789" r="33653" b="40880"/>
          <a:stretch/>
        </p:blipFill>
        <p:spPr>
          <a:xfrm>
            <a:off x="8822070" y="1688231"/>
            <a:ext cx="2921743" cy="22435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0D609EC-1A27-AA74-1779-2F017D431F58}"/>
              </a:ext>
            </a:extLst>
          </p:cNvPr>
          <p:cNvSpPr txBox="1"/>
          <p:nvPr/>
        </p:nvSpPr>
        <p:spPr>
          <a:xfrm>
            <a:off x="9137381" y="2400994"/>
            <a:ext cx="26002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Example of a technical interview question!</a:t>
            </a:r>
          </a:p>
        </p:txBody>
      </p:sp>
    </p:spTree>
    <p:extLst>
      <p:ext uri="{BB962C8B-B14F-4D97-AF65-F5344CB8AC3E}">
        <p14:creationId xmlns:p14="http://schemas.microsoft.com/office/powerpoint/2010/main" val="360133100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4C1D8E-8767-44D0-909C-BFB5246C3FA7}"/>
              </a:ext>
            </a:extLst>
          </p:cNvPr>
          <p:cNvSpPr txBox="1">
            <a:spLocks/>
          </p:cNvSpPr>
          <p:nvPr/>
        </p:nvSpPr>
        <p:spPr>
          <a:xfrm>
            <a:off x="269984" y="2243825"/>
            <a:ext cx="5706611" cy="15407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en-GB" sz="3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ta Analysis with Python Part 3</a:t>
            </a:r>
            <a:endParaRPr lang="en-US" sz="3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EFEAF82-848A-47FB-811B-9F1AAF85ADB5}"/>
              </a:ext>
            </a:extLst>
          </p:cNvPr>
          <p:cNvSpPr txBox="1">
            <a:spLocks/>
          </p:cNvSpPr>
          <p:nvPr/>
        </p:nvSpPr>
        <p:spPr>
          <a:xfrm>
            <a:off x="269984" y="302877"/>
            <a:ext cx="8075229" cy="6306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 sz="3600" dirty="0"/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CD7351FE-90AC-2DEF-6E62-5D20842A8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7" y="6025314"/>
            <a:ext cx="2092699" cy="78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44947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0AC04-273C-C3DD-4BC3-383B37561A9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YTHON EDA ~2.5 h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EAE0FC-8B2D-F256-CA6B-A1C23FB1CF5B}"/>
              </a:ext>
            </a:extLst>
          </p:cNvPr>
          <p:cNvSpPr txBox="1"/>
          <p:nvPr/>
        </p:nvSpPr>
        <p:spPr>
          <a:xfrm>
            <a:off x="555585" y="1846031"/>
            <a:ext cx="6886936" cy="40688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000" dirty="0"/>
              <a:t>You will follow along with your instructor a complete </a:t>
            </a:r>
            <a:r>
              <a:rPr lang="en-GB" sz="2000" b="1" dirty="0"/>
              <a:t>Exploratory Data Analysis (EDA) </a:t>
            </a:r>
            <a:r>
              <a:rPr lang="en-GB" sz="2000" dirty="0"/>
              <a:t>with PYTHON answering key questions using a variety of libraries to perform data viz. Open the following Jupyter notebook file: </a:t>
            </a:r>
            <a:r>
              <a:rPr lang="en-GB" sz="1600" dirty="0">
                <a:hlinkClick r:id="rId2"/>
              </a:rPr>
              <a:t>https://colab.research.google.com/drive/1ZcD1RbeZd16-q5DXhSsDZlREiA8TXzsW?usp=sharing</a:t>
            </a:r>
            <a:endParaRPr lang="en-GB" sz="1600" dirty="0"/>
          </a:p>
          <a:p>
            <a:pPr>
              <a:lnSpc>
                <a:spcPct val="200000"/>
              </a:lnSpc>
            </a:pPr>
            <a:endParaRPr lang="en-GB" sz="2000" dirty="0"/>
          </a:p>
        </p:txBody>
      </p:sp>
      <p:pic>
        <p:nvPicPr>
          <p:cNvPr id="4" name="Picture 3" descr="A logo with orange and grey circles&#10;&#10;Description automatically generated">
            <a:extLst>
              <a:ext uri="{FF2B5EF4-FFF2-40B4-BE49-F238E27FC236}">
                <a16:creationId xmlns:a16="http://schemas.microsoft.com/office/drawing/2014/main" id="{81971CFC-E89F-264B-B867-7C68F08DFC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0491" y="1846031"/>
            <a:ext cx="2164624" cy="250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295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FB7295-2757-E8D0-C25A-0A2263D15E6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ask 3-4 h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84C6BD-6EE2-0025-AEBB-8D6E72843DB2}"/>
              </a:ext>
            </a:extLst>
          </p:cNvPr>
          <p:cNvSpPr txBox="1"/>
          <p:nvPr/>
        </p:nvSpPr>
        <p:spPr>
          <a:xfrm>
            <a:off x="555584" y="1846031"/>
            <a:ext cx="10255169" cy="4807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000" b="1" dirty="0"/>
              <a:t>Group activities in breakrooms:</a:t>
            </a:r>
          </a:p>
          <a:p>
            <a:pPr>
              <a:lnSpc>
                <a:spcPct val="200000"/>
              </a:lnSpc>
            </a:pPr>
            <a:r>
              <a:rPr lang="en-GB" sz="2000" dirty="0"/>
              <a:t>-Choose a dataset of your choice and preform a similar EDA using python answering some key questions with plots (don’t choose a dataset with too many columns): </a:t>
            </a:r>
            <a:r>
              <a:rPr lang="en-GB" sz="2000" dirty="0">
                <a:hlinkClick r:id="rId2"/>
              </a:rPr>
              <a:t>https://www.kaggle.com</a:t>
            </a:r>
            <a:endParaRPr lang="en-GB" sz="2000" dirty="0"/>
          </a:p>
          <a:p>
            <a:pPr>
              <a:lnSpc>
                <a:spcPct val="200000"/>
              </a:lnSpc>
            </a:pPr>
            <a:endParaRPr lang="en-GB" sz="2000" dirty="0"/>
          </a:p>
          <a:p>
            <a:pPr>
              <a:lnSpc>
                <a:spcPct val="200000"/>
              </a:lnSpc>
            </a:pPr>
            <a:r>
              <a:rPr lang="en-GB" sz="2000" dirty="0"/>
              <a:t>-Work as a group choosing the same dataset, determine some questions to reply with plots as a group!</a:t>
            </a:r>
          </a:p>
          <a:p>
            <a:pPr>
              <a:lnSpc>
                <a:spcPct val="200000"/>
              </a:lnSpc>
            </a:pPr>
            <a:endParaRPr lang="en-GB" sz="1600" dirty="0"/>
          </a:p>
          <a:p>
            <a:pPr>
              <a:lnSpc>
                <a:spcPct val="200000"/>
              </a:lnSpc>
            </a:pP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550864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3A585D8-7632-4D65-A198-FA1F0CC906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227" y="393403"/>
            <a:ext cx="5051093" cy="1145997"/>
          </a:xfrm>
        </p:spPr>
        <p:txBody>
          <a:bodyPr>
            <a:normAutofit/>
          </a:bodyPr>
          <a:lstStyle/>
          <a:p>
            <a:r>
              <a:rPr lang="en-GB" sz="4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bjectives</a:t>
            </a:r>
            <a:endParaRPr lang="en-US" sz="4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764009C-C728-4272-B6C3-7BEB6621A332}"/>
              </a:ext>
            </a:extLst>
          </p:cNvPr>
          <p:cNvSpPr txBox="1">
            <a:spLocks/>
          </p:cNvSpPr>
          <p:nvPr/>
        </p:nvSpPr>
        <p:spPr>
          <a:xfrm>
            <a:off x="228123" y="954793"/>
            <a:ext cx="7271463" cy="4476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>
              <a:buFont typeface="Arial" panose="020B0604020202020204" pitchFamily="34" charset="0"/>
              <a:buChar char="•"/>
            </a:pPr>
            <a:r>
              <a:rPr lang="en-GB" sz="3600" b="0" i="0" dirty="0">
                <a:effectLst/>
                <a:latin typeface="+mn-lt"/>
                <a:ea typeface="Open Sans Light"/>
                <a:cs typeface="Open Sans Light"/>
              </a:rPr>
              <a:t>What is Pandas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Pandas </a:t>
            </a:r>
            <a:r>
              <a:rPr lang="en-GB" sz="3600" dirty="0" err="1">
                <a:latin typeface="+mn-lt"/>
                <a:ea typeface="Open Sans Light"/>
                <a:cs typeface="Open Sans Light"/>
              </a:rPr>
              <a:t>DataFrame</a:t>
            </a:r>
            <a:endParaRPr lang="en-GB" sz="3600" dirty="0">
              <a:latin typeface="+mn-lt"/>
              <a:ea typeface="Open Sans Light"/>
              <a:cs typeface="Open Sans Ligh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Datasets Importatio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Data Exploration, Selection, and Filtering</a:t>
            </a:r>
          </a:p>
        </p:txBody>
      </p:sp>
    </p:spTree>
    <p:extLst>
      <p:ext uri="{BB962C8B-B14F-4D97-AF65-F5344CB8AC3E}">
        <p14:creationId xmlns:p14="http://schemas.microsoft.com/office/powerpoint/2010/main" val="39021209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069E0F-9C2D-4BBE-A579-EA1EFA5789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andas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AC673ED2-CA28-4A00-B9F6-A4FC890756D5}"/>
              </a:ext>
            </a:extLst>
          </p:cNvPr>
          <p:cNvSpPr txBox="1">
            <a:spLocks/>
          </p:cNvSpPr>
          <p:nvPr/>
        </p:nvSpPr>
        <p:spPr>
          <a:xfrm>
            <a:off x="8182466" y="390616"/>
            <a:ext cx="3991180" cy="3436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000" dirty="0"/>
              <a:t>Bootcamp</a:t>
            </a:r>
          </a:p>
        </p:txBody>
      </p:sp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CE42A834-5976-79BB-7391-80337D26AA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200" y="1380635"/>
            <a:ext cx="2153920" cy="870543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6E4D91B-85D3-7985-8B06-DB3A4DA349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309381"/>
              </p:ext>
            </p:extLst>
          </p:nvPr>
        </p:nvGraphicFramePr>
        <p:xfrm>
          <a:off x="1759753" y="1380635"/>
          <a:ext cx="7314799" cy="4913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C1D232C-BF99-5C22-3959-9F0C3B0AF103}"/>
              </a:ext>
            </a:extLst>
          </p:cNvPr>
          <p:cNvSpPr txBox="1"/>
          <p:nvPr/>
        </p:nvSpPr>
        <p:spPr>
          <a:xfrm>
            <a:off x="2711306" y="6421163"/>
            <a:ext cx="70071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 video about the author: </a:t>
            </a: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pqMu18dmEdM</a:t>
            </a: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080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A14C5-FE9C-6A68-D1E3-DD78626D27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andas data structur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F02CBE-3A8F-E1FE-9B31-643B8AF525FF}"/>
              </a:ext>
            </a:extLst>
          </p:cNvPr>
          <p:cNvSpPr txBox="1"/>
          <p:nvPr/>
        </p:nvSpPr>
        <p:spPr>
          <a:xfrm>
            <a:off x="3026923" y="1596764"/>
            <a:ext cx="1308371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Series</a:t>
            </a:r>
          </a:p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(1D like array)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10">
            <a:extLst>
              <a:ext uri="{FF2B5EF4-FFF2-40B4-BE49-F238E27FC236}">
                <a16:creationId xmlns:a16="http://schemas.microsoft.com/office/drawing/2014/main" id="{484960DA-D726-19D8-B4F2-AFDAAB715E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685308"/>
              </p:ext>
            </p:extLst>
          </p:nvPr>
        </p:nvGraphicFramePr>
        <p:xfrm>
          <a:off x="2950706" y="2658215"/>
          <a:ext cx="1758310" cy="2078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8310">
                  <a:extLst>
                    <a:ext uri="{9D8B030D-6E8A-4147-A177-3AD203B41FA5}">
                      <a16:colId xmlns:a16="http://schemas.microsoft.com/office/drawing/2014/main" val="2310801123"/>
                    </a:ext>
                  </a:extLst>
                </a:gridCol>
              </a:tblGrid>
              <a:tr h="436264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8268508"/>
                  </a:ext>
                </a:extLst>
              </a:tr>
              <a:tr h="410531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108637"/>
                  </a:ext>
                </a:extLst>
              </a:tr>
              <a:tr h="410531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5107025"/>
                  </a:ext>
                </a:extLst>
              </a:tr>
              <a:tr h="410531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2697276"/>
                  </a:ext>
                </a:extLst>
              </a:tr>
              <a:tr h="410531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4904190"/>
                  </a:ext>
                </a:extLst>
              </a:tr>
            </a:tbl>
          </a:graphicData>
        </a:graphic>
      </p:graphicFrame>
      <p:graphicFrame>
        <p:nvGraphicFramePr>
          <p:cNvPr id="5" name="Table 12">
            <a:extLst>
              <a:ext uri="{FF2B5EF4-FFF2-40B4-BE49-F238E27FC236}">
                <a16:creationId xmlns:a16="http://schemas.microsoft.com/office/drawing/2014/main" id="{D10AC72D-5EC1-37EA-EE46-79E7FD389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581630"/>
              </p:ext>
            </p:extLst>
          </p:nvPr>
        </p:nvGraphicFramePr>
        <p:xfrm>
          <a:off x="2443629" y="3115419"/>
          <a:ext cx="448888" cy="1621184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</a:tbl>
          </a:graphicData>
        </a:graphic>
      </p:graphicFrame>
      <p:graphicFrame>
        <p:nvGraphicFramePr>
          <p:cNvPr id="6" name="Table 26">
            <a:extLst>
              <a:ext uri="{FF2B5EF4-FFF2-40B4-BE49-F238E27FC236}">
                <a16:creationId xmlns:a16="http://schemas.microsoft.com/office/drawing/2014/main" id="{96F1EE97-4795-419E-27D0-79BC2245E5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598976"/>
              </p:ext>
            </p:extLst>
          </p:nvPr>
        </p:nvGraphicFramePr>
        <p:xfrm>
          <a:off x="6150195" y="2677760"/>
          <a:ext cx="3624180" cy="207839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opu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7421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C65921E-4F0B-9031-8D7B-9168C625308E}"/>
              </a:ext>
            </a:extLst>
          </p:cNvPr>
          <p:cNvSpPr txBox="1"/>
          <p:nvPr/>
        </p:nvSpPr>
        <p:spPr>
          <a:xfrm>
            <a:off x="6952955" y="1609667"/>
            <a:ext cx="1973617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Dataframe</a:t>
            </a:r>
          </a:p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(2D like array or more)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12">
            <a:extLst>
              <a:ext uri="{FF2B5EF4-FFF2-40B4-BE49-F238E27FC236}">
                <a16:creationId xmlns:a16="http://schemas.microsoft.com/office/drawing/2014/main" id="{329C59B5-DE62-1101-28F6-F4B9D924F7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925593"/>
              </p:ext>
            </p:extLst>
          </p:nvPr>
        </p:nvGraphicFramePr>
        <p:xfrm>
          <a:off x="5609528" y="3134966"/>
          <a:ext cx="448888" cy="1621184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5FF1FD0-0497-EADC-0DCC-787C78A60997}"/>
              </a:ext>
            </a:extLst>
          </p:cNvPr>
          <p:cNvSpPr txBox="1"/>
          <p:nvPr/>
        </p:nvSpPr>
        <p:spPr>
          <a:xfrm>
            <a:off x="2800628" y="5279577"/>
            <a:ext cx="1867271" cy="861774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ommand to create a Serie:</a:t>
            </a:r>
          </a:p>
          <a:p>
            <a:r>
              <a:rPr lang="en-GB" sz="16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Series( 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412EDE-D40F-1931-A96D-D1E8AA7673EC}"/>
              </a:ext>
            </a:extLst>
          </p:cNvPr>
          <p:cNvSpPr txBox="1"/>
          <p:nvPr/>
        </p:nvSpPr>
        <p:spPr>
          <a:xfrm>
            <a:off x="6787340" y="5310354"/>
            <a:ext cx="2566019" cy="8309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ommand to create a dataframe:</a:t>
            </a:r>
          </a:p>
          <a:p>
            <a:r>
              <a:rPr lang="en-GB" sz="16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DataFrame( )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67E24E88-3807-11A0-7B5B-C70BBE978B26}"/>
              </a:ext>
            </a:extLst>
          </p:cNvPr>
          <p:cNvSpPr/>
          <p:nvPr/>
        </p:nvSpPr>
        <p:spPr>
          <a:xfrm>
            <a:off x="3626199" y="4903499"/>
            <a:ext cx="216131" cy="28263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3D24C383-4F3C-15EF-102B-31C810351855}"/>
              </a:ext>
            </a:extLst>
          </p:cNvPr>
          <p:cNvSpPr/>
          <p:nvPr/>
        </p:nvSpPr>
        <p:spPr>
          <a:xfrm>
            <a:off x="7854219" y="4903499"/>
            <a:ext cx="216131" cy="282633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229AA9C-9AF2-D997-0986-32415C0DDDEB}"/>
              </a:ext>
            </a:extLst>
          </p:cNvPr>
          <p:cNvCxnSpPr>
            <a:cxnSpLocks/>
            <a:stCxn id="6" idx="0"/>
            <a:endCxn id="6" idx="2"/>
          </p:cNvCxnSpPr>
          <p:nvPr/>
        </p:nvCxnSpPr>
        <p:spPr>
          <a:xfrm>
            <a:off x="7962285" y="2677760"/>
            <a:ext cx="0" cy="207839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B63BBE3-59B9-A660-E2B0-9D940EC6D528}"/>
              </a:ext>
            </a:extLst>
          </p:cNvPr>
          <p:cNvSpPr txBox="1"/>
          <p:nvPr/>
        </p:nvSpPr>
        <p:spPr>
          <a:xfrm rot="16200000">
            <a:off x="1467479" y="3772122"/>
            <a:ext cx="11192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rows index</a:t>
            </a:r>
          </a:p>
        </p:txBody>
      </p:sp>
      <p:sp>
        <p:nvSpPr>
          <p:cNvPr id="15" name="Left Bracket 14">
            <a:extLst>
              <a:ext uri="{FF2B5EF4-FFF2-40B4-BE49-F238E27FC236}">
                <a16:creationId xmlns:a16="http://schemas.microsoft.com/office/drawing/2014/main" id="{D33F51E4-0262-B543-96F4-1C9CF7C0EACF}"/>
              </a:ext>
            </a:extLst>
          </p:cNvPr>
          <p:cNvSpPr/>
          <p:nvPr/>
        </p:nvSpPr>
        <p:spPr>
          <a:xfrm>
            <a:off x="2226865" y="3115418"/>
            <a:ext cx="68826" cy="1640731"/>
          </a:xfrm>
          <a:prstGeom prst="leftBracke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B4968B7-76B4-D73B-750E-34014CCD99A2}"/>
              </a:ext>
            </a:extLst>
          </p:cNvPr>
          <p:cNvSpPr txBox="1"/>
          <p:nvPr/>
        </p:nvSpPr>
        <p:spPr>
          <a:xfrm rot="16200000">
            <a:off x="4614084" y="3791670"/>
            <a:ext cx="11192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rows index</a:t>
            </a:r>
          </a:p>
        </p:txBody>
      </p:sp>
      <p:sp>
        <p:nvSpPr>
          <p:cNvPr id="17" name="Left Bracket 16">
            <a:extLst>
              <a:ext uri="{FF2B5EF4-FFF2-40B4-BE49-F238E27FC236}">
                <a16:creationId xmlns:a16="http://schemas.microsoft.com/office/drawing/2014/main" id="{9EE979B1-8111-5CBD-A3B2-FF6212B09ABC}"/>
              </a:ext>
            </a:extLst>
          </p:cNvPr>
          <p:cNvSpPr/>
          <p:nvPr/>
        </p:nvSpPr>
        <p:spPr>
          <a:xfrm>
            <a:off x="5373470" y="3134966"/>
            <a:ext cx="68826" cy="1640731"/>
          </a:xfrm>
          <a:prstGeom prst="leftBracke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Left Bracket 17">
            <a:extLst>
              <a:ext uri="{FF2B5EF4-FFF2-40B4-BE49-F238E27FC236}">
                <a16:creationId xmlns:a16="http://schemas.microsoft.com/office/drawing/2014/main" id="{9519FDA3-6831-7E61-8977-2ACAF5922EF8}"/>
              </a:ext>
            </a:extLst>
          </p:cNvPr>
          <p:cNvSpPr/>
          <p:nvPr/>
        </p:nvSpPr>
        <p:spPr>
          <a:xfrm rot="5400000">
            <a:off x="7919783" y="744534"/>
            <a:ext cx="85002" cy="3611380"/>
          </a:xfrm>
          <a:prstGeom prst="leftBracke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8AC1516-14DB-0740-B298-32919411F2F6}"/>
              </a:ext>
            </a:extLst>
          </p:cNvPr>
          <p:cNvSpPr txBox="1"/>
          <p:nvPr/>
        </p:nvSpPr>
        <p:spPr>
          <a:xfrm>
            <a:off x="7314724" y="2209645"/>
            <a:ext cx="1649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columns index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4BE3F1-134F-555B-DA00-97C747B2F884}"/>
              </a:ext>
            </a:extLst>
          </p:cNvPr>
          <p:cNvSpPr txBox="1"/>
          <p:nvPr/>
        </p:nvSpPr>
        <p:spPr>
          <a:xfrm>
            <a:off x="6984783" y="2458816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C396097-6479-0825-38E8-A4A89B05B43B}"/>
              </a:ext>
            </a:extLst>
          </p:cNvPr>
          <p:cNvSpPr txBox="1"/>
          <p:nvPr/>
        </p:nvSpPr>
        <p:spPr>
          <a:xfrm>
            <a:off x="8736594" y="2458816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3642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049138-1F77-CEDC-F84E-1557D14DB4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andas Serie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9F73A2F-F645-0508-7AC2-D5ED8FE80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0" y="1604963"/>
            <a:ext cx="9525000" cy="364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9760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60395C-2CB9-3CB7-5CA9-5D6B17827A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354281"/>
            <a:ext cx="5616608" cy="1043287"/>
          </a:xfrm>
        </p:spPr>
        <p:txBody>
          <a:bodyPr/>
          <a:lstStyle/>
          <a:p>
            <a:r>
              <a:rPr lang="en-GB" dirty="0"/>
              <a:t>Understanding </a:t>
            </a:r>
            <a:r>
              <a:rPr lang="en-GB" dirty="0" err="1"/>
              <a:t>DataFrame</a:t>
            </a:r>
            <a:endParaRPr lang="en-GB" dirty="0"/>
          </a:p>
        </p:txBody>
      </p:sp>
      <p:pic>
        <p:nvPicPr>
          <p:cNvPr id="1026" name="Picture 2" descr="Lightbox">
            <a:extLst>
              <a:ext uri="{FF2B5EF4-FFF2-40B4-BE49-F238E27FC236}">
                <a16:creationId xmlns:a16="http://schemas.microsoft.com/office/drawing/2014/main" id="{AE061B9F-A410-73DC-13CD-C14A767DC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8461" y="1583266"/>
            <a:ext cx="7395079" cy="4575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B7CDB02F-DC82-A598-F22D-89175FE1EC47}"/>
              </a:ext>
            </a:extLst>
          </p:cNvPr>
          <p:cNvSpPr txBox="1">
            <a:spLocks/>
          </p:cNvSpPr>
          <p:nvPr/>
        </p:nvSpPr>
        <p:spPr>
          <a:xfrm>
            <a:off x="8182466" y="390616"/>
            <a:ext cx="3991180" cy="3436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000" dirty="0"/>
              <a:t>Bootcam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B2EB26-A888-334B-1D52-B4333BF4BB62}"/>
              </a:ext>
            </a:extLst>
          </p:cNvPr>
          <p:cNvSpPr txBox="1"/>
          <p:nvPr/>
        </p:nvSpPr>
        <p:spPr>
          <a:xfrm>
            <a:off x="2570073" y="6366232"/>
            <a:ext cx="82092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/>
              <a:t>Source link: </a:t>
            </a:r>
            <a:r>
              <a:rPr lang="en-GB" sz="1200" dirty="0">
                <a:hlinkClick r:id="rId4"/>
              </a:rPr>
              <a:t>https://www.geeksforgeeks.org/python-pandas-series/</a:t>
            </a:r>
            <a:endParaRPr lang="en-GB" sz="1200" dirty="0"/>
          </a:p>
          <a:p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061420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10515296-1bd5-401a-b8a4-ea4dde82f896">
      <Terms xmlns="http://schemas.microsoft.com/office/infopath/2007/PartnerControls"/>
    </lcf76f155ced4ddcb4097134ff3c332f>
    <TaxCatchAll xmlns="d0cd20b0-df63-44e8-932f-fba08f23ea6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18B55538CA08448923EEF657060701" ma:contentTypeVersion="19" ma:contentTypeDescription="Create a new document." ma:contentTypeScope="" ma:versionID="3a9d5b97a54c0bd4dc62ff11ab122f05">
  <xsd:schema xmlns:xsd="http://www.w3.org/2001/XMLSchema" xmlns:xs="http://www.w3.org/2001/XMLSchema" xmlns:p="http://schemas.microsoft.com/office/2006/metadata/properties" xmlns:ns1="http://schemas.microsoft.com/sharepoint/v3" xmlns:ns2="10515296-1bd5-401a-b8a4-ea4dde82f896" xmlns:ns3="d0cd20b0-df63-44e8-932f-fba08f23ea61" targetNamespace="http://schemas.microsoft.com/office/2006/metadata/properties" ma:root="true" ma:fieldsID="3b4d808fdc41abaacdbc95c2bfa8bf9b" ns1:_="" ns2:_="" ns3:_="">
    <xsd:import namespace="http://schemas.microsoft.com/sharepoint/v3"/>
    <xsd:import namespace="10515296-1bd5-401a-b8a4-ea4dde82f896"/>
    <xsd:import namespace="d0cd20b0-df63-44e8-932f-fba08f23ea6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515296-1bd5-401a-b8a4-ea4dde82f8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33107afe-cb13-45d0-a368-909a38ecfe4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cd20b0-df63-44e8-932f-fba08f23ea6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7e0c310-d06f-4a43-be96-5d5a834afc67}" ma:internalName="TaxCatchAll" ma:showField="CatchAllData" ma:web="d0cd20b0-df63-44e8-932f-fba08f23ea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520A0B-0B9A-452C-9850-010C3B5F7FDF}">
  <ds:schemaRefs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www.w3.org/XML/1998/namespace"/>
    <ds:schemaRef ds:uri="http://purl.org/dc/dcmitype/"/>
    <ds:schemaRef ds:uri="http://schemas.microsoft.com/office/infopath/2007/PartnerControls"/>
    <ds:schemaRef ds:uri="8f8392b7-efb9-4d92-b93e-ed6e2ab0c428"/>
    <ds:schemaRef ds:uri="23ba7a61-5747-4845-9d88-08e673bb3c13"/>
    <ds:schemaRef ds:uri="http://schemas.microsoft.com/sharepoint/v3"/>
    <ds:schemaRef ds:uri="10515296-1bd5-401a-b8a4-ea4dde82f896"/>
    <ds:schemaRef ds:uri="d0cd20b0-df63-44e8-932f-fba08f23ea61"/>
  </ds:schemaRefs>
</ds:datastoreItem>
</file>

<file path=customXml/itemProps2.xml><?xml version="1.0" encoding="utf-8"?>
<ds:datastoreItem xmlns:ds="http://schemas.openxmlformats.org/officeDocument/2006/customXml" ds:itemID="{8DF8BC2F-3190-4843-98C8-AA14ADB7EA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5100A0B-8053-4372-91CD-9F7A118B33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0515296-1bd5-401a-b8a4-ea4dde82f896"/>
    <ds:schemaRef ds:uri="d0cd20b0-df63-44e8-932f-fba08f23ea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6</TotalTime>
  <Words>3686</Words>
  <Application>Microsoft Office PowerPoint</Application>
  <PresentationFormat>Widescreen</PresentationFormat>
  <Paragraphs>516</Paragraphs>
  <Slides>47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7" baseType="lpstr">
      <vt:lpstr>Arial</vt:lpstr>
      <vt:lpstr>Calibri</vt:lpstr>
      <vt:lpstr>Calibri Light</vt:lpstr>
      <vt:lpstr>Cambria Math</vt:lpstr>
      <vt:lpstr>circular</vt:lpstr>
      <vt:lpstr>Open Sans</vt:lpstr>
      <vt:lpstr>Open Sans Light</vt:lpstr>
      <vt:lpstr>Open Sans Semibold</vt:lpstr>
      <vt:lpstr>Office Theme</vt:lpstr>
      <vt:lpstr>think-cell Slide</vt:lpstr>
      <vt:lpstr>PowerPoint Presentation</vt:lpstr>
      <vt:lpstr>PowerPoint Presentation</vt:lpstr>
      <vt:lpstr>Before we start… Please have your camera switched on.</vt:lpstr>
      <vt:lpstr>PowerPoint Presentation</vt:lpstr>
      <vt:lpstr>Objectives</vt:lpstr>
      <vt:lpstr>Pandas</vt:lpstr>
      <vt:lpstr>Pandas data structures</vt:lpstr>
      <vt:lpstr>Pandas Series</vt:lpstr>
      <vt:lpstr>Understanding DataFrame</vt:lpstr>
      <vt:lpstr>Jupyter notebook Script</vt:lpstr>
      <vt:lpstr>Series cre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ecking Missing Values</vt:lpstr>
      <vt:lpstr>PowerPoint Presentation</vt:lpstr>
      <vt:lpstr>PowerPoint Presentation</vt:lpstr>
      <vt:lpstr>PowerPoint Presentation</vt:lpstr>
      <vt:lpstr>Objectives</vt:lpstr>
      <vt:lpstr>Jupyter notebook Scrip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YTHON EDA ~2.5 hrs</vt:lpstr>
      <vt:lpstr>Task 3-4 h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ra Taylor</dc:creator>
  <cp:lastModifiedBy>Ali Kanji</cp:lastModifiedBy>
  <cp:revision>114</cp:revision>
  <dcterms:created xsi:type="dcterms:W3CDTF">2023-01-16T10:36:57Z</dcterms:created>
  <dcterms:modified xsi:type="dcterms:W3CDTF">2024-02-01T23:0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18B55538CA08448923EEF657060701</vt:lpwstr>
  </property>
  <property fmtid="{D5CDD505-2E9C-101B-9397-08002B2CF9AE}" pid="3" name="Order">
    <vt:r8>7057000</vt:r8>
  </property>
  <property fmtid="{D5CDD505-2E9C-101B-9397-08002B2CF9AE}" pid="4" name="MediaServiceImageTags">
    <vt:lpwstr/>
  </property>
</Properties>
</file>